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5"/>
    <p:sldMasterId id="2147485185" r:id="rId6"/>
    <p:sldMasterId id="2147485189" r:id="rId7"/>
  </p:sldMasterIdLst>
  <p:notesMasterIdLst>
    <p:notesMasterId r:id="rId9"/>
  </p:notesMasterIdLst>
  <p:handoutMasterIdLst>
    <p:handoutMasterId r:id="rId10"/>
  </p:handoutMasterIdLst>
  <p:sldIdLst>
    <p:sldId id="2147479606"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dha, Harsil" initials="MH" lastIdx="1" clrIdx="0">
    <p:extLst>
      <p:ext uri="{19B8F6BF-5375-455C-9EA6-DF929625EA0E}">
        <p15:presenceInfo xmlns:p15="http://schemas.microsoft.com/office/powerpoint/2012/main" userId="Modha, Hars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C8C8"/>
    <a:srgbClr val="97C3DD"/>
    <a:srgbClr val="00B0F0"/>
    <a:srgbClr val="203864"/>
    <a:srgbClr val="F2F2F2"/>
    <a:srgbClr val="FCEEF3"/>
    <a:srgbClr val="FEF8FA"/>
    <a:srgbClr val="FDE7ED"/>
    <a:srgbClr val="EAF3FA"/>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46" autoAdjust="0"/>
    <p:restoredTop sz="94614"/>
  </p:normalViewPr>
  <p:slideViewPr>
    <p:cSldViewPr snapToGrid="0">
      <p:cViewPr varScale="1">
        <p:scale>
          <a:sx n="101" d="100"/>
          <a:sy n="101" d="100"/>
        </p:scale>
        <p:origin x="876" y="10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7/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7/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32423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20E25-1042-466C-B185-3AD5086F356E}"/>
              </a:ext>
            </a:extLst>
          </p:cNvPr>
          <p:cNvGraphicFramePr>
            <a:graphicFrameLocks noChangeAspect="1"/>
          </p:cNvGraphicFramePr>
          <p:nvPr userDrawn="1">
            <p:custDataLst>
              <p:tags r:id="rId1"/>
            </p:custDataLst>
            <p:extLst>
              <p:ext uri="{D42A27DB-BD31-4B8C-83A1-F6EECF244321}">
                <p14:modId xmlns:p14="http://schemas.microsoft.com/office/powerpoint/2010/main" val="165331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ADA20E25-1042-466C-B185-3AD5086F35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0711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82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1935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59827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08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0.xml"/><Relationship Id="rId7" Type="http://schemas.openxmlformats.org/officeDocument/2006/relationships/image" Target="../media/image1.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oleObject" Target="../embeddings/oleObject19.bin"/><Relationship Id="rId5" Type="http://schemas.openxmlformats.org/officeDocument/2006/relationships/tags" Target="../tags/tag3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552194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2692746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771602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51726DD-2250-497E-BCDF-D3B37765041D}"/>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a:extLst>
              <a:ext uri="{FF2B5EF4-FFF2-40B4-BE49-F238E27FC236}">
                <a16:creationId xmlns:a16="http://schemas.microsoft.com/office/drawing/2014/main" id="{39D71B02-156B-4CF9-8C4D-854B9113DC1B}"/>
              </a:ext>
            </a:extLst>
          </p:cNvPr>
          <p:cNvSpPr txBox="1">
            <a:spLocks/>
          </p:cNvSpPr>
          <p:nvPr userDrawn="1"/>
        </p:nvSpPr>
        <p:spPr>
          <a:xfrm>
            <a:off x="630000" y="327833"/>
            <a:ext cx="10933350" cy="332399"/>
          </a:xfrm>
          <a:prstGeom prst="rect">
            <a:avLst/>
          </a:prstGeom>
        </p:spPr>
        <p:txBody>
          <a:bodyPr vert="horz"/>
          <a:lstStyle>
            <a:lvl1pPr algn="l" defTabSz="914400" rtl="0" eaLnBrk="1" latinLnBrk="0" hangingPunct="1">
              <a:lnSpc>
                <a:spcPct val="90000"/>
              </a:lnSpc>
              <a:spcBef>
                <a:spcPct val="0"/>
              </a:spcBef>
              <a:buNone/>
              <a:defRPr sz="2400" kern="1200">
                <a:solidFill>
                  <a:srgbClr val="FFFFFF"/>
                </a:solidFill>
                <a:latin typeface="Calibri" panose="020F0502020204030204" pitchFamily="34" charset="0"/>
                <a:ea typeface="+mj-ea"/>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08589861"/>
      </p:ext>
    </p:extLst>
  </p:cSld>
  <p:clrMap bg1="lt1" tx1="dk1" bg2="lt2" tx2="dk2" accent1="accent1" accent2="accent2" accent3="accent3" accent4="accent4" accent5="accent5" accent6="accent6" hlink="hlink" folHlink="folHlink"/>
  <p:sldLayoutIdLst>
    <p:sldLayoutId id="2147485190" r:id="rId1"/>
    <p:sldLayoutId id="2147485191"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9163B9-59D8-4692-8262-CF1EC1DA2A25}"/>
              </a:ext>
            </a:extLst>
          </p:cNvPr>
          <p:cNvGraphicFramePr>
            <a:graphicFrameLocks noChangeAspect="1"/>
          </p:cNvGraphicFramePr>
          <p:nvPr>
            <p:custDataLst>
              <p:tags r:id="rId1"/>
            </p:custDataLst>
            <p:extLst>
              <p:ext uri="{D42A27DB-BD31-4B8C-83A1-F6EECF244321}">
                <p14:modId xmlns:p14="http://schemas.microsoft.com/office/powerpoint/2010/main" val="36832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99163B9-59D8-4692-8262-CF1EC1DA2A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138197"/>
            <a:ext cx="10933350" cy="925102"/>
          </a:xfrm>
        </p:spPr>
        <p:txBody>
          <a:bodyPr vert="horz"/>
          <a:lstStyle/>
          <a:p>
            <a:r>
              <a:rPr lang="en-US" dirty="0"/>
              <a:t>Technology for obtaining and applying a soil improver based on biochar, </a:t>
            </a:r>
            <a:br>
              <a:rPr lang="ru-RU" dirty="0"/>
            </a:br>
            <a:r>
              <a:rPr lang="en-US" dirty="0"/>
              <a:t>which has the effect of sequestration of greenhouse gases </a:t>
            </a:r>
          </a:p>
        </p:txBody>
      </p:sp>
      <p:sp>
        <p:nvSpPr>
          <p:cNvPr id="5" name="Rectangle 4">
            <a:extLst>
              <a:ext uri="{FF2B5EF4-FFF2-40B4-BE49-F238E27FC236}">
                <a16:creationId xmlns:a16="http://schemas.microsoft.com/office/drawing/2014/main" id="{B649F9A4-5736-4E33-A7AE-BEF8602D286A}"/>
              </a:ext>
            </a:extLst>
          </p:cNvPr>
          <p:cNvSpPr/>
          <p:nvPr/>
        </p:nvSpPr>
        <p:spPr>
          <a:xfrm>
            <a:off x="630359" y="1449800"/>
            <a:ext cx="7146325" cy="1410589"/>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lvl="0">
              <a:spcAft>
                <a:spcPts val="600"/>
              </a:spcAft>
              <a:buFont typeface="Trebuchet MS" panose="020B0603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The project aims to develop the technology for a soil improver based on</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biochar coated with long-acting mineral components and biocomponents as a</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novel type of complex fertilizer, as well as to conduct an environmental</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assessment of carbon and greenhouse gas sequestration </a:t>
            </a:r>
          </a:p>
          <a:p>
            <a:pPr marL="171450" indent="-171450">
              <a:spcAft>
                <a:spcPts val="400"/>
              </a:spcAft>
              <a:buFont typeface="Arial" panose="020B0604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Emission reduction: Sequestering carbon and converting greenhouse gases</a:t>
            </a:r>
            <a:endParaRPr lang="ru-RU" sz="1200" dirty="0">
              <a:solidFill>
                <a:srgbClr val="575757"/>
              </a:solidFill>
              <a:latin typeface="Calibri" panose="020F0502020204030204" pitchFamily="34" charset="0"/>
              <a:cs typeface="Calibri" panose="020F0502020204030204" pitchFamily="34" charset="0"/>
            </a:endParaRPr>
          </a:p>
          <a:p>
            <a:pPr marL="171450" lvl="0" indent="-171450">
              <a:buFont typeface="Arial" panose="020B0604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Waste valorization: Using industrial byproducts as long-acting carbon carriers for mineral additives, bioactive compounds, and plant-growth-promoting microbes</a:t>
            </a:r>
            <a:endParaRPr lang="ru-RU" sz="1200" dirty="0">
              <a:solidFill>
                <a:srgbClr val="575757"/>
              </a:solidFill>
              <a:latin typeface="Calibri" panose="020F0502020204030204" pitchFamily="34" charset="0"/>
              <a:cs typeface="Calibri" panose="020F0502020204030204" pitchFamily="34" charset="0"/>
            </a:endParaRPr>
          </a:p>
          <a:p>
            <a:pPr marL="171450" lvl="0" indent="-171450">
              <a:buFont typeface="Arial" panose="020B0604020202020204" pitchFamily="34" charset="0"/>
              <a:buChar cha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D0B502D8-51CB-4A93-957E-5316BB3085A3}"/>
              </a:ext>
            </a:extLst>
          </p:cNvPr>
          <p:cNvSpPr/>
          <p:nvPr/>
        </p:nvSpPr>
        <p:spPr>
          <a:xfrm>
            <a:off x="7079997" y="5115152"/>
            <a:ext cx="4440904" cy="73866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600"/>
              </a:spcAft>
              <a:defRPr/>
            </a:pPr>
            <a:r>
              <a:rPr lang="en-US" sz="1200" b="1" dirty="0">
                <a:solidFill>
                  <a:srgbClr val="30C1D7"/>
                </a:solidFill>
                <a:latin typeface="Calibri" panose="020F0502020204030204" pitchFamily="34" charset="0"/>
                <a:cs typeface="Calibri" panose="020F0502020204030204" pitchFamily="34" charset="0"/>
              </a:rPr>
              <a:t>Current project investment: </a:t>
            </a:r>
            <a:r>
              <a:rPr lang="en-US" sz="1200" dirty="0">
                <a:solidFill>
                  <a:srgbClr val="575757"/>
                </a:solidFill>
                <a:latin typeface="Calibri" panose="020F0502020204030204" pitchFamily="34" charset="0"/>
                <a:cs typeface="Calibri" panose="020F0502020204030204" pitchFamily="34" charset="0"/>
              </a:rPr>
              <a:t>$</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50</a:t>
            </a:r>
            <a:r>
              <a:rPr lang="ru-RU" sz="1200" dirty="0">
                <a:solidFill>
                  <a:srgbClr val="575757"/>
                </a:solidFill>
                <a:latin typeface="Calibri" panose="020F0502020204030204" pitchFamily="34" charset="0"/>
                <a:cs typeface="Calibri" panose="020F0502020204030204" pitchFamily="34" charset="0"/>
              </a:rPr>
              <a:t>,000</a:t>
            </a:r>
            <a:endParaRPr lang="en-US" sz="1200" dirty="0">
              <a:solidFill>
                <a:srgbClr val="575757"/>
              </a:solidFill>
              <a:latin typeface="Calibri" panose="020F0502020204030204" pitchFamily="34" charset="0"/>
              <a:cs typeface="Calibri" panose="020F0502020204030204" pitchFamily="34" charset="0"/>
            </a:endParaRPr>
          </a:p>
          <a:p>
            <a:pPr lvl="0">
              <a:spcAft>
                <a:spcPts val="600"/>
              </a:spcAft>
              <a:defRPr/>
            </a:pPr>
            <a:r>
              <a:rPr lang="en-US" sz="1200" b="1" dirty="0">
                <a:solidFill>
                  <a:srgbClr val="30C1D7"/>
                </a:solidFill>
                <a:latin typeface="Calibri" panose="020F0502020204030204" pitchFamily="34" charset="0"/>
                <a:cs typeface="Calibri" panose="020F0502020204030204" pitchFamily="34" charset="0"/>
              </a:rPr>
              <a:t>R&amp;D and technology: </a:t>
            </a:r>
            <a:r>
              <a:rPr lang="en-US" sz="1200" dirty="0">
                <a:solidFill>
                  <a:srgbClr val="575757"/>
                </a:solidFill>
                <a:latin typeface="Calibri" panose="020F0502020204030204" pitchFamily="34" charset="0"/>
                <a:cs typeface="Calibri" panose="020F0502020204030204" pitchFamily="34" charset="0"/>
              </a:rPr>
              <a:t>$</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200</a:t>
            </a:r>
            <a:r>
              <a:rPr lang="ru-RU" sz="1200" dirty="0">
                <a:solidFill>
                  <a:srgbClr val="575757"/>
                </a:solidFill>
                <a:latin typeface="Calibri" panose="020F0502020204030204" pitchFamily="34" charset="0"/>
                <a:cs typeface="Calibri" panose="020F0502020204030204" pitchFamily="34" charset="0"/>
              </a:rPr>
              <a:t>,000</a:t>
            </a:r>
            <a:endParaRPr lang="en-US" sz="1200" dirty="0">
              <a:solidFill>
                <a:srgbClr val="575757"/>
              </a:solidFill>
              <a:latin typeface="Calibri" panose="020F0502020204030204" pitchFamily="34" charset="0"/>
              <a:cs typeface="Calibri" panose="020F0502020204030204" pitchFamily="34" charset="0"/>
            </a:endParaRPr>
          </a:p>
          <a:p>
            <a:pPr lvl="0">
              <a:spcAft>
                <a:spcPts val="600"/>
              </a:spcAft>
              <a:defRPr/>
            </a:pPr>
            <a:r>
              <a:rPr lang="en-US" sz="1200" b="1" dirty="0">
                <a:solidFill>
                  <a:srgbClr val="30C1D7"/>
                </a:solidFill>
                <a:latin typeface="Calibri" panose="020F0502020204030204" pitchFamily="34" charset="0"/>
                <a:cs typeface="Calibri" panose="020F0502020204030204" pitchFamily="34" charset="0"/>
              </a:rPr>
              <a:t>Equipment: </a:t>
            </a:r>
            <a:r>
              <a:rPr lang="en-US" sz="1200" dirty="0">
                <a:solidFill>
                  <a:srgbClr val="575757"/>
                </a:solidFill>
                <a:latin typeface="Calibri" panose="020F0502020204030204" pitchFamily="34" charset="0"/>
                <a:cs typeface="Calibri" panose="020F0502020204030204" pitchFamily="34" charset="0"/>
              </a:rPr>
              <a:t>$</a:t>
            </a:r>
            <a:r>
              <a:rPr lang="ru-RU" sz="1200" dirty="0">
                <a:solidFill>
                  <a:srgbClr val="575757"/>
                </a:solidFill>
                <a:latin typeface="Calibri" panose="020F0502020204030204" pitchFamily="34" charset="0"/>
                <a:cs typeface="Calibri" panose="020F0502020204030204" pitchFamily="34" charset="0"/>
              </a:rPr>
              <a:t> </a:t>
            </a:r>
            <a:r>
              <a:rPr lang="en-US" sz="1200" dirty="0">
                <a:solidFill>
                  <a:srgbClr val="575757"/>
                </a:solidFill>
                <a:latin typeface="Calibri" panose="020F0502020204030204" pitchFamily="34" charset="0"/>
                <a:cs typeface="Calibri" panose="020F0502020204030204" pitchFamily="34" charset="0"/>
              </a:rPr>
              <a:t>1.25 million</a:t>
            </a:r>
          </a:p>
          <a:p>
            <a:pPr lvl="0">
              <a:spcAft>
                <a:spcPts val="600"/>
              </a:spcAft>
              <a:defRPr/>
            </a:pPr>
            <a:r>
              <a:rPr lang="en-US" sz="1200" b="1" dirty="0">
                <a:solidFill>
                  <a:srgbClr val="30C1D7"/>
                </a:solidFill>
                <a:latin typeface="Calibri" panose="020F0502020204030204" pitchFamily="34" charset="0"/>
                <a:cs typeface="Calibri" panose="020F0502020204030204" pitchFamily="34" charset="0"/>
              </a:rPr>
              <a:t>Product cost per ton: </a:t>
            </a:r>
            <a:r>
              <a:rPr lang="en-US" sz="1200" dirty="0">
                <a:solidFill>
                  <a:srgbClr val="575757"/>
                </a:solidFill>
                <a:latin typeface="Calibri" panose="020F0502020204030204" pitchFamily="34" charset="0"/>
                <a:cs typeface="Calibri" panose="020F0502020204030204" pitchFamily="34" charset="0"/>
              </a:rPr>
              <a:t>$ 250</a:t>
            </a:r>
            <a:r>
              <a:rPr lang="ru-RU" sz="1200" dirty="0">
                <a:solidFill>
                  <a:srgbClr val="575757"/>
                </a:solidFill>
                <a:latin typeface="Calibri" panose="020F0502020204030204" pitchFamily="34" charset="0"/>
                <a:cs typeface="Calibri" panose="020F0502020204030204" pitchFamily="34" charset="0"/>
              </a:rPr>
              <a:t>/</a:t>
            </a:r>
            <a:r>
              <a:rPr lang="en-US" sz="1200" dirty="0">
                <a:solidFill>
                  <a:srgbClr val="575757"/>
                </a:solidFill>
                <a:latin typeface="Calibri" panose="020F0502020204030204" pitchFamily="34" charset="0"/>
                <a:cs typeface="Calibri" panose="020F0502020204030204" pitchFamily="34" charset="0"/>
              </a:rPr>
              <a:t>t</a:t>
            </a:r>
          </a:p>
          <a:p>
            <a:pPr lvl="0">
              <a:spcAft>
                <a:spcPts val="600"/>
              </a:spcAft>
              <a:defRPr/>
            </a:pPr>
            <a:r>
              <a:rPr lang="en-US" sz="1200" b="1" dirty="0">
                <a:solidFill>
                  <a:srgbClr val="30C1D7"/>
                </a:solidFill>
                <a:latin typeface="Calibri" panose="020F0502020204030204" pitchFamily="34" charset="0"/>
                <a:cs typeface="Calibri" panose="020F0502020204030204" pitchFamily="34" charset="0"/>
              </a:rPr>
              <a:t>Project payback period: </a:t>
            </a:r>
            <a:r>
              <a:rPr lang="en-US" sz="1200" dirty="0">
                <a:solidFill>
                  <a:srgbClr val="575757"/>
                </a:solidFill>
                <a:latin typeface="Calibri" panose="020F0502020204030204" pitchFamily="34" charset="0"/>
                <a:cs typeface="Calibri" panose="020F0502020204030204" pitchFamily="34" charset="0"/>
              </a:rPr>
              <a:t>3-5 years</a:t>
            </a:r>
            <a:endParaRPr kumimoji="0" lang="ru-RU" sz="1200" b="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2881073F-FD45-4DEF-B346-F1AFE7B36FA2}"/>
              </a:ext>
            </a:extLst>
          </p:cNvPr>
          <p:cNvSpPr/>
          <p:nvPr/>
        </p:nvSpPr>
        <p:spPr>
          <a:xfrm>
            <a:off x="628649" y="4274126"/>
            <a:ext cx="6162676" cy="2243052"/>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94C5E4F9-6B0F-47E3-A38C-F09AF43E06B6}"/>
              </a:ext>
            </a:extLst>
          </p:cNvPr>
          <p:cNvSpPr/>
          <p:nvPr/>
        </p:nvSpPr>
        <p:spPr>
          <a:xfrm>
            <a:off x="2968745" y="4226435"/>
            <a:ext cx="4348958" cy="147732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just">
              <a:defRPr/>
            </a:pPr>
            <a:endParaRPr lang="en-US" sz="1200" dirty="0">
              <a:solidFill>
                <a:srgbClr val="575757"/>
              </a:solidFill>
              <a:latin typeface="Calibri" panose="020F0502020204030204" pitchFamily="34" charset="0"/>
              <a:cs typeface="Calibri" panose="020F0502020204030204" pitchFamily="34" charset="0"/>
            </a:endParaRPr>
          </a:p>
          <a:p>
            <a:pPr lvl="0" algn="just">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18E374AB-F55F-4FAB-94D8-D3D4CFAD3D78}"/>
              </a:ext>
            </a:extLst>
          </p:cNvPr>
          <p:cNvSpPr txBox="1"/>
          <p:nvPr/>
        </p:nvSpPr>
        <p:spPr>
          <a:xfrm>
            <a:off x="713635" y="1354861"/>
            <a:ext cx="137651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 overview</a:t>
            </a:r>
          </a:p>
        </p:txBody>
      </p:sp>
      <p:sp>
        <p:nvSpPr>
          <p:cNvPr id="21" name="Rectangle 20">
            <a:extLst>
              <a:ext uri="{FF2B5EF4-FFF2-40B4-BE49-F238E27FC236}">
                <a16:creationId xmlns:a16="http://schemas.microsoft.com/office/drawing/2014/main" id="{06B43EF0-CD6E-41E1-BEE5-C537F0EEE17A}"/>
              </a:ext>
            </a:extLst>
          </p:cNvPr>
          <p:cNvSpPr/>
          <p:nvPr/>
        </p:nvSpPr>
        <p:spPr>
          <a:xfrm>
            <a:off x="628649" y="3033184"/>
            <a:ext cx="4348958"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7FEC81C0-5EE6-4B93-AAE4-D0B157EB65F7}"/>
              </a:ext>
            </a:extLst>
          </p:cNvPr>
          <p:cNvSpPr txBox="1"/>
          <p:nvPr/>
        </p:nvSpPr>
        <p:spPr>
          <a:xfrm>
            <a:off x="720106" y="2933664"/>
            <a:ext cx="77700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Key info</a:t>
            </a:r>
          </a:p>
        </p:txBody>
      </p:sp>
      <p:sp>
        <p:nvSpPr>
          <p:cNvPr id="24" name="TextBox 23">
            <a:extLst>
              <a:ext uri="{FF2B5EF4-FFF2-40B4-BE49-F238E27FC236}">
                <a16:creationId xmlns:a16="http://schemas.microsoft.com/office/drawing/2014/main" id="{515B8835-0C1C-4A3D-99F1-4D8B2E10B3A4}"/>
              </a:ext>
            </a:extLst>
          </p:cNvPr>
          <p:cNvSpPr txBox="1"/>
          <p:nvPr/>
        </p:nvSpPr>
        <p:spPr>
          <a:xfrm>
            <a:off x="732008" y="4167373"/>
            <a:ext cx="1251378"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Climate impact</a:t>
            </a:r>
          </a:p>
        </p:txBody>
      </p:sp>
      <p:sp>
        <p:nvSpPr>
          <p:cNvPr id="12" name="Rectangle 11">
            <a:extLst>
              <a:ext uri="{FF2B5EF4-FFF2-40B4-BE49-F238E27FC236}">
                <a16:creationId xmlns:a16="http://schemas.microsoft.com/office/drawing/2014/main" id="{38D45408-E3DC-45A4-BE8A-A006947DF262}"/>
              </a:ext>
            </a:extLst>
          </p:cNvPr>
          <p:cNvSpPr/>
          <p:nvPr/>
        </p:nvSpPr>
        <p:spPr>
          <a:xfrm>
            <a:off x="6952801" y="4270625"/>
            <a:ext cx="4610550" cy="2243052"/>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01" name="Rectangle 100">
            <a:extLst>
              <a:ext uri="{FF2B5EF4-FFF2-40B4-BE49-F238E27FC236}">
                <a16:creationId xmlns:a16="http://schemas.microsoft.com/office/drawing/2014/main" id="{93A7E114-DE3F-4AD7-BC5B-57493305814D}"/>
              </a:ext>
            </a:extLst>
          </p:cNvPr>
          <p:cNvSpPr/>
          <p:nvPr/>
        </p:nvSpPr>
        <p:spPr>
          <a:xfrm>
            <a:off x="7904340" y="1448735"/>
            <a:ext cx="3631888" cy="1408498"/>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12" name="NavigationTriangle">
            <a:extLst>
              <a:ext uri="{FF2B5EF4-FFF2-40B4-BE49-F238E27FC236}">
                <a16:creationId xmlns:a16="http://schemas.microsoft.com/office/drawing/2014/main" id="{1752C441-1174-4BEC-BFE9-251C9E9FE4E6}"/>
              </a:ext>
            </a:extLst>
          </p:cNvPr>
          <p:cNvSpPr>
            <a:spLocks noChangeAspect="1"/>
          </p:cNvSpPr>
          <p:nvPr/>
        </p:nvSpPr>
        <p:spPr>
          <a:xfrm rot="16200000">
            <a:off x="11175326" y="-13783"/>
            <a:ext cx="1017006" cy="101633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138" name="Rectangle 137">
            <a:extLst>
              <a:ext uri="{FF2B5EF4-FFF2-40B4-BE49-F238E27FC236}">
                <a16:creationId xmlns:a16="http://schemas.microsoft.com/office/drawing/2014/main" id="{9CD98ED8-F000-41A2-A09E-C9B15275DA4A}"/>
              </a:ext>
            </a:extLst>
          </p:cNvPr>
          <p:cNvSpPr/>
          <p:nvPr/>
        </p:nvSpPr>
        <p:spPr>
          <a:xfrm>
            <a:off x="8481907" y="4719060"/>
            <a:ext cx="1587342" cy="276999"/>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defRPr/>
            </a:pPr>
            <a:r>
              <a:rPr lang="en-US" sz="1200" dirty="0">
                <a:solidFill>
                  <a:srgbClr val="575757"/>
                </a:solidFill>
                <a:latin typeface="Calibri" panose="020F0502020204030204" pitchFamily="34" charset="0"/>
                <a:cs typeface="Calibri" panose="020F0502020204030204" pitchFamily="34" charset="0"/>
              </a:rPr>
              <a:t>Funds required</a:t>
            </a:r>
          </a:p>
        </p:txBody>
      </p:sp>
      <p:sp>
        <p:nvSpPr>
          <p:cNvPr id="25" name="TextBox 24">
            <a:extLst>
              <a:ext uri="{FF2B5EF4-FFF2-40B4-BE49-F238E27FC236}">
                <a16:creationId xmlns:a16="http://schemas.microsoft.com/office/drawing/2014/main" id="{39277E75-C420-4760-8EBB-D73A866E4652}"/>
              </a:ext>
            </a:extLst>
          </p:cNvPr>
          <p:cNvSpPr txBox="1"/>
          <p:nvPr/>
        </p:nvSpPr>
        <p:spPr>
          <a:xfrm>
            <a:off x="7049633" y="4193935"/>
            <a:ext cx="854707"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Financing</a:t>
            </a:r>
          </a:p>
        </p:txBody>
      </p:sp>
      <p:sp>
        <p:nvSpPr>
          <p:cNvPr id="104" name="TextBox 103">
            <a:extLst>
              <a:ext uri="{FF2B5EF4-FFF2-40B4-BE49-F238E27FC236}">
                <a16:creationId xmlns:a16="http://schemas.microsoft.com/office/drawing/2014/main" id="{D5358A58-F79E-40FA-A433-18AB5D18B3EB}"/>
              </a:ext>
            </a:extLst>
          </p:cNvPr>
          <p:cNvSpPr txBox="1"/>
          <p:nvPr/>
        </p:nvSpPr>
        <p:spPr>
          <a:xfrm>
            <a:off x="7979889" y="1369264"/>
            <a:ext cx="854707"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Timelines</a:t>
            </a:r>
          </a:p>
        </p:txBody>
      </p:sp>
      <p:sp>
        <p:nvSpPr>
          <p:cNvPr id="308" name="Rectangle 307">
            <a:extLst>
              <a:ext uri="{FF2B5EF4-FFF2-40B4-BE49-F238E27FC236}">
                <a16:creationId xmlns:a16="http://schemas.microsoft.com/office/drawing/2014/main" id="{B4B8452D-EB0D-4AB6-A91C-22F9E76B07D7}"/>
              </a:ext>
            </a:extLst>
          </p:cNvPr>
          <p:cNvSpPr/>
          <p:nvPr/>
        </p:nvSpPr>
        <p:spPr>
          <a:xfrm>
            <a:off x="5234737" y="3130288"/>
            <a:ext cx="2031486"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spcAft>
                <a:spcPts val="600"/>
              </a:spcAft>
              <a:defRPr/>
            </a:pPr>
            <a:r>
              <a:rPr lang="en-US" sz="1200" b="1" dirty="0">
                <a:solidFill>
                  <a:srgbClr val="30C1D7"/>
                </a:solidFill>
                <a:latin typeface="Calibri" panose="020F0502020204030204" pitchFamily="34" charset="0"/>
                <a:cs typeface="Calibri" panose="020F0502020204030204" pitchFamily="34" charset="0"/>
              </a:rPr>
              <a:t>Owner</a:t>
            </a:r>
          </a:p>
          <a:p>
            <a:pPr algn="ctr">
              <a:defRPr/>
            </a:pPr>
            <a:r>
              <a:rPr lang="en-US" sz="1200" dirty="0">
                <a:solidFill>
                  <a:srgbClr val="575757"/>
                </a:solidFill>
                <a:latin typeface="Calibri" panose="020F0502020204030204" pitchFamily="34" charset="0"/>
                <a:cs typeface="Calibri" panose="020F0502020204030204" pitchFamily="34" charset="0"/>
              </a:rPr>
              <a:t>Perm National Research Polytechnic University</a:t>
            </a:r>
          </a:p>
          <a:p>
            <a:pPr algn="ctr">
              <a:defRPr/>
            </a:pPr>
            <a:endPar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a:p>
            <a:pPr lvl="0" algn="ct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319" name="Rectangle: Rounded Corners 127">
            <a:extLst>
              <a:ext uri="{FF2B5EF4-FFF2-40B4-BE49-F238E27FC236}">
                <a16:creationId xmlns:a16="http://schemas.microsoft.com/office/drawing/2014/main" id="{04A7A74E-D993-4663-B6E1-0C7ECECC8C90}"/>
              </a:ext>
            </a:extLst>
          </p:cNvPr>
          <p:cNvSpPr>
            <a:spLocks noChangeAspect="1"/>
          </p:cNvSpPr>
          <p:nvPr/>
        </p:nvSpPr>
        <p:spPr>
          <a:xfrm>
            <a:off x="2489845" y="4432886"/>
            <a:ext cx="2440284" cy="311295"/>
          </a:xfrm>
          <a:prstGeom prst="roundRect">
            <a:avLst/>
          </a:prstGeom>
          <a:solidFill>
            <a:srgbClr val="FFFFFF"/>
          </a:solidFill>
          <a:ln w="19050" cap="rnd">
            <a:solidFill>
              <a:srgbClr val="30C1D7"/>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algn="ctr">
              <a:defRPr/>
            </a:pPr>
            <a:r>
              <a:rPr lang="ru-RU" sz="1600" b="1" kern="0" dirty="0">
                <a:solidFill>
                  <a:srgbClr val="30C1D7"/>
                </a:solidFill>
                <a:latin typeface="Calibri" panose="020F0502020204030204" pitchFamily="34" charset="0"/>
                <a:cs typeface="Calibri" panose="020F0502020204030204" pitchFamily="34" charset="0"/>
              </a:rPr>
              <a:t>22,500</a:t>
            </a:r>
            <a:r>
              <a:rPr lang="nb-NO" sz="1600" b="1" kern="0" dirty="0">
                <a:solidFill>
                  <a:srgbClr val="30C1D7"/>
                </a:solidFill>
                <a:latin typeface="Calibri" panose="020F0502020204030204" pitchFamily="34" charset="0"/>
                <a:cs typeface="Calibri" panose="020F0502020204030204" pitchFamily="34" charset="0"/>
              </a:rPr>
              <a:t> t CO2e/yr avoided</a:t>
            </a:r>
            <a:endParaRPr lang="nb-NO" sz="900" kern="0" dirty="0">
              <a:solidFill>
                <a:srgbClr val="575757"/>
              </a:solidFill>
              <a:latin typeface="Calibri" panose="020F0502020204030204" pitchFamily="34" charset="0"/>
              <a:cs typeface="Calibri" panose="020F0502020204030204" pitchFamily="34" charset="0"/>
            </a:endParaRPr>
          </a:p>
        </p:txBody>
      </p:sp>
      <p:sp>
        <p:nvSpPr>
          <p:cNvPr id="109" name="Rectangle 108">
            <a:extLst>
              <a:ext uri="{FF2B5EF4-FFF2-40B4-BE49-F238E27FC236}">
                <a16:creationId xmlns:a16="http://schemas.microsoft.com/office/drawing/2014/main" id="{D1FF0838-BBC0-4332-B4CA-B2C8B1FE643C}"/>
              </a:ext>
            </a:extLst>
          </p:cNvPr>
          <p:cNvSpPr/>
          <p:nvPr/>
        </p:nvSpPr>
        <p:spPr>
          <a:xfrm>
            <a:off x="8020050" y="1575253"/>
            <a:ext cx="3106266" cy="369332"/>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Project stage:</a:t>
            </a: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Feasibility assessment</a:t>
            </a:r>
          </a:p>
          <a:p>
            <a:pPr>
              <a:defRPr/>
            </a:pPr>
            <a:endParaRPr lang="en-US" sz="1200" dirty="0">
              <a:solidFill>
                <a:srgbClr val="575757"/>
              </a:solidFill>
              <a:latin typeface="Calibri" panose="020F0502020204030204" pitchFamily="34" charset="0"/>
              <a:cs typeface="Calibri" panose="020F0502020204030204" pitchFamily="34" charset="0"/>
            </a:endParaRPr>
          </a:p>
        </p:txBody>
      </p:sp>
      <p:sp>
        <p:nvSpPr>
          <p:cNvPr id="111" name="Rectangle 110">
            <a:extLst>
              <a:ext uri="{FF2B5EF4-FFF2-40B4-BE49-F238E27FC236}">
                <a16:creationId xmlns:a16="http://schemas.microsoft.com/office/drawing/2014/main" id="{00D07B54-7F70-4BF2-BE22-0E02CA732BEB}"/>
              </a:ext>
            </a:extLst>
          </p:cNvPr>
          <p:cNvSpPr/>
          <p:nvPr/>
        </p:nvSpPr>
        <p:spPr>
          <a:xfrm>
            <a:off x="8020050" y="1847894"/>
            <a:ext cx="3541591" cy="4915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Project timelines:</a:t>
            </a: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a:t>
            </a:r>
            <a:endParaRPr kumimoji="0" lang="ru-RU"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endParaRPr>
          </a:p>
          <a:p>
            <a:pP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2024 Project design</a:t>
            </a:r>
          </a:p>
          <a:p>
            <a:pP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2025</a:t>
            </a:r>
            <a:r>
              <a:rPr kumimoji="0" lang="ru-RU"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2026</a:t>
            </a: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R&amp;D and technology</a:t>
            </a:r>
          </a:p>
          <a:p>
            <a:pP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2027 Design and commissioning of the production line</a:t>
            </a:r>
          </a:p>
          <a:p>
            <a:pP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2028 Market entry </a:t>
            </a:r>
          </a:p>
          <a:p>
            <a:pPr>
              <a:defRPr/>
            </a:pPr>
            <a:endPar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a:p>
            <a:pPr lvl="0">
              <a:defRPr/>
            </a:pPr>
            <a:endPar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p:txBody>
      </p:sp>
      <p:sp>
        <p:nvSpPr>
          <p:cNvPr id="118" name="Rectangle 117">
            <a:extLst>
              <a:ext uri="{FF2B5EF4-FFF2-40B4-BE49-F238E27FC236}">
                <a16:creationId xmlns:a16="http://schemas.microsoft.com/office/drawing/2014/main" id="{6B83B5FA-158C-487A-9954-2DEF113E1DB6}"/>
              </a:ext>
            </a:extLst>
          </p:cNvPr>
          <p:cNvSpPr/>
          <p:nvPr/>
        </p:nvSpPr>
        <p:spPr>
          <a:xfrm>
            <a:off x="5104016" y="3033184"/>
            <a:ext cx="6459332"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B66C2314-77ED-4260-9D38-C7D45AEE6D1A}"/>
              </a:ext>
            </a:extLst>
          </p:cNvPr>
          <p:cNvSpPr txBox="1"/>
          <p:nvPr/>
        </p:nvSpPr>
        <p:spPr>
          <a:xfrm>
            <a:off x="5224827" y="2951253"/>
            <a:ext cx="1251378"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 structure</a:t>
            </a:r>
          </a:p>
        </p:txBody>
      </p:sp>
      <p:sp>
        <p:nvSpPr>
          <p:cNvPr id="120" name="Rectangle 119">
            <a:extLst>
              <a:ext uri="{FF2B5EF4-FFF2-40B4-BE49-F238E27FC236}">
                <a16:creationId xmlns:a16="http://schemas.microsoft.com/office/drawing/2014/main" id="{1957ACEF-1EB8-40B3-935A-F5C167DF512D}"/>
              </a:ext>
            </a:extLst>
          </p:cNvPr>
          <p:cNvSpPr/>
          <p:nvPr/>
        </p:nvSpPr>
        <p:spPr>
          <a:xfrm>
            <a:off x="7523351" y="3130288"/>
            <a:ext cx="1409373"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Contractual structure</a:t>
            </a:r>
          </a:p>
          <a:p>
            <a:pPr algn="ct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Design, build, operate</a:t>
            </a:r>
            <a:endParaRPr lang="en-US" sz="1200" dirty="0">
              <a:solidFill>
                <a:srgbClr val="575757"/>
              </a:solidFill>
              <a:latin typeface="Calibri" panose="020F0502020204030204" pitchFamily="34" charset="0"/>
              <a:cs typeface="Calibri" panose="020F0502020204030204" pitchFamily="34" charset="0"/>
            </a:endParaRPr>
          </a:p>
        </p:txBody>
      </p:sp>
      <p:sp>
        <p:nvSpPr>
          <p:cNvPr id="121" name="Rectangle 120">
            <a:extLst>
              <a:ext uri="{FF2B5EF4-FFF2-40B4-BE49-F238E27FC236}">
                <a16:creationId xmlns:a16="http://schemas.microsoft.com/office/drawing/2014/main" id="{79A2DABA-FD19-44CC-BD4F-E01952E639FA}"/>
              </a:ext>
            </a:extLst>
          </p:cNvPr>
          <p:cNvSpPr/>
          <p:nvPr/>
        </p:nvSpPr>
        <p:spPr>
          <a:xfrm>
            <a:off x="9275578" y="3130288"/>
            <a:ext cx="1830572"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spcAft>
                <a:spcPts val="300"/>
              </a:spcAft>
              <a:defRPr/>
            </a:pPr>
            <a:r>
              <a:rPr kumimoji="0" lang="en-US" sz="1200" b="1" i="0" u="none" strike="noStrike" kern="1200" cap="none" spc="0" normalizeH="0" baseline="0" noProof="0" dirty="0">
                <a:ln>
                  <a:noFill/>
                </a:ln>
                <a:solidFill>
                  <a:srgbClr val="30C1D7"/>
                </a:solidFill>
                <a:effectLst/>
                <a:uLnTx/>
                <a:uFillTx/>
                <a:latin typeface="Calibri" panose="020F0502020204030204" pitchFamily="34" charset="0"/>
                <a:ea typeface="+mn-ea"/>
                <a:cs typeface="Calibri" panose="020F0502020204030204" pitchFamily="34" charset="0"/>
              </a:rPr>
              <a:t>Project </a:t>
            </a:r>
            <a:r>
              <a:rPr lang="en-US" sz="1200" b="1" dirty="0">
                <a:solidFill>
                  <a:srgbClr val="30C1D7"/>
                </a:solidFill>
                <a:latin typeface="Calibri" panose="020F0502020204030204" pitchFamily="34" charset="0"/>
                <a:cs typeface="Calibri" panose="020F0502020204030204" pitchFamily="34" charset="0"/>
              </a:rPr>
              <a:t>sponsor</a:t>
            </a:r>
          </a:p>
          <a:p>
            <a:pPr lvl="0" algn="ctr">
              <a:spcAft>
                <a:spcPts val="600"/>
              </a:spcAft>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LLC </a:t>
            </a:r>
            <a:r>
              <a:rPr kumimoji="0" lang="ru-RU"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КАМА</a:t>
            </a: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RF)</a:t>
            </a:r>
            <a:endParaRPr kumimoji="0" lang="ru-RU"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a:p>
            <a:pPr lvl="0" algn="ctr">
              <a:defRPr/>
            </a:pP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Perm Pulp and Paper Company</a:t>
            </a:r>
            <a:r>
              <a:rPr kumimoji="0" lang="ru-RU"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RF)</a:t>
            </a:r>
            <a:endParaRPr kumimoji="0" lang="ru-RU" sz="12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endParaRPr>
          </a:p>
          <a:p>
            <a:pPr lvl="0" algn="ctr">
              <a:defRPr/>
            </a:pPr>
            <a:endParaRPr kumimoji="0" lang="en-US" sz="1200" b="0" i="0" u="none" strike="noStrike" kern="1200" cap="none" spc="0" normalizeH="0" baseline="0" noProof="0" dirty="0">
              <a:ln>
                <a:noFill/>
              </a:ln>
              <a:solidFill>
                <a:srgbClr val="575757"/>
              </a:solidFill>
              <a:effectLst/>
              <a:highlight>
                <a:srgbClr val="FFFF00"/>
              </a:highligh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F8B39A02-3369-B5BA-1013-C617F082EB65}"/>
              </a:ext>
            </a:extLst>
          </p:cNvPr>
          <p:cNvSpPr txBox="1"/>
          <p:nvPr/>
        </p:nvSpPr>
        <p:spPr>
          <a:xfrm>
            <a:off x="542710" y="1033234"/>
            <a:ext cx="3244323" cy="264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Country:</a:t>
            </a:r>
            <a:r>
              <a:rPr kumimoji="0" lang="ru-RU" sz="18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dirty="0">
                <a:ln>
                  <a:noFill/>
                </a:ln>
                <a:solidFill>
                  <a:srgbClr val="575757"/>
                </a:solidFill>
                <a:effectLst/>
                <a:uLnTx/>
                <a:uFillTx/>
                <a:latin typeface="Calibri" panose="020F0502020204030204" pitchFamily="34" charset="0"/>
                <a:ea typeface="+mn-ea"/>
                <a:cs typeface="Calibri" panose="020F0502020204030204" pitchFamily="34" charset="0"/>
              </a:rPr>
              <a:t>Russia</a:t>
            </a:r>
          </a:p>
        </p:txBody>
      </p:sp>
      <p:grpSp>
        <p:nvGrpSpPr>
          <p:cNvPr id="4" name="Group 3">
            <a:extLst>
              <a:ext uri="{FF2B5EF4-FFF2-40B4-BE49-F238E27FC236}">
                <a16:creationId xmlns:a16="http://schemas.microsoft.com/office/drawing/2014/main" id="{56FB838E-C3DF-13B7-3DAC-EC5756F82A38}"/>
              </a:ext>
            </a:extLst>
          </p:cNvPr>
          <p:cNvGrpSpPr/>
          <p:nvPr/>
        </p:nvGrpSpPr>
        <p:grpSpPr>
          <a:xfrm>
            <a:off x="732006" y="3269347"/>
            <a:ext cx="548640" cy="548640"/>
            <a:chOff x="11766207" y="2987582"/>
            <a:chExt cx="604062" cy="604621"/>
          </a:xfrm>
        </p:grpSpPr>
        <p:sp>
          <p:nvSpPr>
            <p:cNvPr id="7" name="AutoShape 33">
              <a:extLst>
                <a:ext uri="{FF2B5EF4-FFF2-40B4-BE49-F238E27FC236}">
                  <a16:creationId xmlns:a16="http://schemas.microsoft.com/office/drawing/2014/main" id="{CDFF9524-4C2C-4C8C-290F-18C864987222}"/>
                </a:ext>
              </a:extLst>
            </p:cNvPr>
            <p:cNvSpPr>
              <a:spLocks noChangeAspect="1" noChangeArrowheads="1" noTextEdit="1"/>
            </p:cNvSpPr>
            <p:nvPr/>
          </p:nvSpPr>
          <p:spPr bwMode="auto">
            <a:xfrm>
              <a:off x="11766207" y="2987582"/>
              <a:ext cx="604062" cy="60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35">
              <a:extLst>
                <a:ext uri="{FF2B5EF4-FFF2-40B4-BE49-F238E27FC236}">
                  <a16:creationId xmlns:a16="http://schemas.microsoft.com/office/drawing/2014/main" id="{99694394-C965-2636-5CE3-F4A61BF4C4AB}"/>
                </a:ext>
              </a:extLst>
            </p:cNvPr>
            <p:cNvSpPr>
              <a:spLocks noEditPoints="1"/>
            </p:cNvSpPr>
            <p:nvPr/>
          </p:nvSpPr>
          <p:spPr bwMode="auto">
            <a:xfrm>
              <a:off x="11836746" y="3062180"/>
              <a:ext cx="462984" cy="420296"/>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solidFill>
              <a:srgbClr val="30C1D7"/>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6">
              <a:extLst>
                <a:ext uri="{FF2B5EF4-FFF2-40B4-BE49-F238E27FC236}">
                  <a16:creationId xmlns:a16="http://schemas.microsoft.com/office/drawing/2014/main" id="{AF454BD7-A9E1-0674-3286-23802297B114}"/>
                </a:ext>
              </a:extLst>
            </p:cNvPr>
            <p:cNvSpPr>
              <a:spLocks noEditPoints="1"/>
            </p:cNvSpPr>
            <p:nvPr/>
          </p:nvSpPr>
          <p:spPr bwMode="auto">
            <a:xfrm>
              <a:off x="11834647" y="3050283"/>
              <a:ext cx="466622" cy="477679"/>
            </a:xfrm>
            <a:custGeom>
              <a:avLst/>
              <a:gdLst>
                <a:gd name="T0" fmla="*/ 0 w 1780"/>
                <a:gd name="T1" fmla="*/ 1199 h 1820"/>
                <a:gd name="T2" fmla="*/ 79 w 1780"/>
                <a:gd name="T3" fmla="*/ 888 h 1820"/>
                <a:gd name="T4" fmla="*/ 42 w 1780"/>
                <a:gd name="T5" fmla="*/ 924 h 1820"/>
                <a:gd name="T6" fmla="*/ 128 w 1780"/>
                <a:gd name="T7" fmla="*/ 452 h 1820"/>
                <a:gd name="T8" fmla="*/ 164 w 1780"/>
                <a:gd name="T9" fmla="*/ 488 h 1820"/>
                <a:gd name="T10" fmla="*/ 223 w 1780"/>
                <a:gd name="T11" fmla="*/ 452 h 1820"/>
                <a:gd name="T12" fmla="*/ 407 w 1780"/>
                <a:gd name="T13" fmla="*/ 165 h 1820"/>
                <a:gd name="T14" fmla="*/ 370 w 1780"/>
                <a:gd name="T15" fmla="*/ 201 h 1820"/>
                <a:gd name="T16" fmla="*/ 208 w 1780"/>
                <a:gd name="T17" fmla="*/ 531 h 1820"/>
                <a:gd name="T18" fmla="*/ 244 w 1780"/>
                <a:gd name="T19" fmla="*/ 567 h 1820"/>
                <a:gd name="T20" fmla="*/ 10 w 1780"/>
                <a:gd name="T21" fmla="*/ 1335 h 1820"/>
                <a:gd name="T22" fmla="*/ 190 w 1780"/>
                <a:gd name="T23" fmla="*/ 1274 h 1820"/>
                <a:gd name="T24" fmla="*/ 154 w 1780"/>
                <a:gd name="T25" fmla="*/ 1310 h 1820"/>
                <a:gd name="T26" fmla="*/ 189 w 1780"/>
                <a:gd name="T27" fmla="*/ 337 h 1820"/>
                <a:gd name="T28" fmla="*/ 225 w 1780"/>
                <a:gd name="T29" fmla="*/ 373 h 1820"/>
                <a:gd name="T30" fmla="*/ 436 w 1780"/>
                <a:gd name="T31" fmla="*/ 189 h 1820"/>
                <a:gd name="T32" fmla="*/ 748 w 1780"/>
                <a:gd name="T33" fmla="*/ 36 h 1820"/>
                <a:gd name="T34" fmla="*/ 711 w 1780"/>
                <a:gd name="T35" fmla="*/ 72 h 1820"/>
                <a:gd name="T36" fmla="*/ 773 w 1780"/>
                <a:gd name="T37" fmla="*/ 108 h 1820"/>
                <a:gd name="T38" fmla="*/ 810 w 1780"/>
                <a:gd name="T39" fmla="*/ 144 h 1820"/>
                <a:gd name="T40" fmla="*/ 783 w 1780"/>
                <a:gd name="T41" fmla="*/ 53 h 1820"/>
                <a:gd name="T42" fmla="*/ 1708 w 1780"/>
                <a:gd name="T43" fmla="*/ 1199 h 1820"/>
                <a:gd name="T44" fmla="*/ 1745 w 1780"/>
                <a:gd name="T45" fmla="*/ 1163 h 1820"/>
                <a:gd name="T46" fmla="*/ 1738 w 1780"/>
                <a:gd name="T47" fmla="*/ 924 h 1820"/>
                <a:gd name="T48" fmla="*/ 1701 w 1780"/>
                <a:gd name="T49" fmla="*/ 888 h 1820"/>
                <a:gd name="T50" fmla="*/ 1688 w 1780"/>
                <a:gd name="T51" fmla="*/ 488 h 1820"/>
                <a:gd name="T52" fmla="*/ 1485 w 1780"/>
                <a:gd name="T53" fmla="*/ 452 h 1820"/>
                <a:gd name="T54" fmla="*/ 1521 w 1780"/>
                <a:gd name="T55" fmla="*/ 416 h 1820"/>
                <a:gd name="T56" fmla="*/ 1410 w 1780"/>
                <a:gd name="T57" fmla="*/ 201 h 1820"/>
                <a:gd name="T58" fmla="*/ 1373 w 1780"/>
                <a:gd name="T59" fmla="*/ 165 h 1820"/>
                <a:gd name="T60" fmla="*/ 1608 w 1780"/>
                <a:gd name="T61" fmla="*/ 567 h 1820"/>
                <a:gd name="T62" fmla="*/ 1698 w 1780"/>
                <a:gd name="T63" fmla="*/ 1335 h 1820"/>
                <a:gd name="T64" fmla="*/ 1734 w 1780"/>
                <a:gd name="T65" fmla="*/ 1299 h 1820"/>
                <a:gd name="T66" fmla="*/ 1626 w 1780"/>
                <a:gd name="T67" fmla="*/ 1310 h 1820"/>
                <a:gd name="T68" fmla="*/ 1590 w 1780"/>
                <a:gd name="T69" fmla="*/ 1274 h 1820"/>
                <a:gd name="T70" fmla="*/ 1627 w 1780"/>
                <a:gd name="T71" fmla="*/ 373 h 1820"/>
                <a:gd name="T72" fmla="*/ 1272 w 1780"/>
                <a:gd name="T73" fmla="*/ 189 h 1820"/>
                <a:gd name="T74" fmla="*/ 1309 w 1780"/>
                <a:gd name="T75" fmla="*/ 153 h 1820"/>
                <a:gd name="T76" fmla="*/ 1069 w 1780"/>
                <a:gd name="T77" fmla="*/ 72 h 1820"/>
                <a:gd name="T78" fmla="*/ 1032 w 1780"/>
                <a:gd name="T79" fmla="*/ 36 h 1820"/>
                <a:gd name="T80" fmla="*/ 1042 w 1780"/>
                <a:gd name="T81" fmla="*/ 144 h 1820"/>
                <a:gd name="T82" fmla="*/ 925 w 1780"/>
                <a:gd name="T83" fmla="*/ 53 h 1820"/>
                <a:gd name="T84" fmla="*/ 961 w 1780"/>
                <a:gd name="T85" fmla="*/ 17 h 1820"/>
                <a:gd name="T86" fmla="*/ 405 w 1780"/>
                <a:gd name="T87" fmla="*/ 1656 h 1820"/>
                <a:gd name="T88" fmla="*/ 158 w 1780"/>
                <a:gd name="T89" fmla="*/ 1820 h 1820"/>
                <a:gd name="T90" fmla="*/ 789 w 1780"/>
                <a:gd name="T91" fmla="*/ 1469 h 1820"/>
                <a:gd name="T92" fmla="*/ 989 w 1780"/>
                <a:gd name="T93" fmla="*/ 1469 h 1820"/>
                <a:gd name="T94" fmla="*/ 1622 w 1780"/>
                <a:gd name="T95" fmla="*/ 1820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0" h="1820">
                  <a:moveTo>
                    <a:pt x="72" y="1199"/>
                  </a:moveTo>
                  <a:cubicBezTo>
                    <a:pt x="72" y="1218"/>
                    <a:pt x="56" y="1235"/>
                    <a:pt x="35" y="1235"/>
                  </a:cubicBezTo>
                  <a:cubicBezTo>
                    <a:pt x="16" y="1235"/>
                    <a:pt x="0" y="1218"/>
                    <a:pt x="0" y="1199"/>
                  </a:cubicBezTo>
                  <a:cubicBezTo>
                    <a:pt x="0" y="1179"/>
                    <a:pt x="16" y="1163"/>
                    <a:pt x="35" y="1163"/>
                  </a:cubicBezTo>
                  <a:cubicBezTo>
                    <a:pt x="56" y="1163"/>
                    <a:pt x="72" y="1179"/>
                    <a:pt x="72" y="1199"/>
                  </a:cubicBezTo>
                  <a:close/>
                  <a:moveTo>
                    <a:pt x="79" y="888"/>
                  </a:moveTo>
                  <a:cubicBezTo>
                    <a:pt x="79" y="868"/>
                    <a:pt x="63" y="852"/>
                    <a:pt x="42" y="852"/>
                  </a:cubicBezTo>
                  <a:cubicBezTo>
                    <a:pt x="23" y="852"/>
                    <a:pt x="7" y="868"/>
                    <a:pt x="7" y="888"/>
                  </a:cubicBezTo>
                  <a:cubicBezTo>
                    <a:pt x="7" y="907"/>
                    <a:pt x="23" y="924"/>
                    <a:pt x="42" y="924"/>
                  </a:cubicBezTo>
                  <a:cubicBezTo>
                    <a:pt x="63" y="924"/>
                    <a:pt x="79" y="907"/>
                    <a:pt x="79" y="888"/>
                  </a:cubicBezTo>
                  <a:close/>
                  <a:moveTo>
                    <a:pt x="164" y="488"/>
                  </a:moveTo>
                  <a:cubicBezTo>
                    <a:pt x="164" y="468"/>
                    <a:pt x="148" y="452"/>
                    <a:pt x="128" y="452"/>
                  </a:cubicBezTo>
                  <a:cubicBezTo>
                    <a:pt x="109" y="452"/>
                    <a:pt x="92" y="468"/>
                    <a:pt x="92" y="488"/>
                  </a:cubicBezTo>
                  <a:cubicBezTo>
                    <a:pt x="92" y="507"/>
                    <a:pt x="109" y="524"/>
                    <a:pt x="128" y="524"/>
                  </a:cubicBezTo>
                  <a:cubicBezTo>
                    <a:pt x="148" y="524"/>
                    <a:pt x="164" y="507"/>
                    <a:pt x="164" y="488"/>
                  </a:cubicBezTo>
                  <a:close/>
                  <a:moveTo>
                    <a:pt x="295" y="452"/>
                  </a:moveTo>
                  <a:cubicBezTo>
                    <a:pt x="295" y="432"/>
                    <a:pt x="279" y="416"/>
                    <a:pt x="259" y="416"/>
                  </a:cubicBezTo>
                  <a:cubicBezTo>
                    <a:pt x="239" y="416"/>
                    <a:pt x="223" y="432"/>
                    <a:pt x="223" y="452"/>
                  </a:cubicBezTo>
                  <a:cubicBezTo>
                    <a:pt x="223" y="471"/>
                    <a:pt x="239" y="488"/>
                    <a:pt x="259" y="488"/>
                  </a:cubicBezTo>
                  <a:cubicBezTo>
                    <a:pt x="279" y="488"/>
                    <a:pt x="295" y="471"/>
                    <a:pt x="295" y="452"/>
                  </a:cubicBezTo>
                  <a:close/>
                  <a:moveTo>
                    <a:pt x="407" y="165"/>
                  </a:moveTo>
                  <a:cubicBezTo>
                    <a:pt x="407" y="145"/>
                    <a:pt x="391" y="129"/>
                    <a:pt x="370" y="129"/>
                  </a:cubicBezTo>
                  <a:cubicBezTo>
                    <a:pt x="351" y="129"/>
                    <a:pt x="335" y="145"/>
                    <a:pt x="335" y="165"/>
                  </a:cubicBezTo>
                  <a:cubicBezTo>
                    <a:pt x="335" y="184"/>
                    <a:pt x="351" y="201"/>
                    <a:pt x="370" y="201"/>
                  </a:cubicBezTo>
                  <a:cubicBezTo>
                    <a:pt x="391" y="201"/>
                    <a:pt x="407" y="184"/>
                    <a:pt x="407" y="165"/>
                  </a:cubicBezTo>
                  <a:close/>
                  <a:moveTo>
                    <a:pt x="244" y="567"/>
                  </a:moveTo>
                  <a:cubicBezTo>
                    <a:pt x="244" y="547"/>
                    <a:pt x="228" y="531"/>
                    <a:pt x="208" y="531"/>
                  </a:cubicBezTo>
                  <a:cubicBezTo>
                    <a:pt x="189" y="531"/>
                    <a:pt x="172" y="547"/>
                    <a:pt x="172" y="567"/>
                  </a:cubicBezTo>
                  <a:cubicBezTo>
                    <a:pt x="172" y="586"/>
                    <a:pt x="189" y="603"/>
                    <a:pt x="208" y="603"/>
                  </a:cubicBezTo>
                  <a:cubicBezTo>
                    <a:pt x="228" y="603"/>
                    <a:pt x="244" y="586"/>
                    <a:pt x="244" y="567"/>
                  </a:cubicBezTo>
                  <a:close/>
                  <a:moveTo>
                    <a:pt x="82" y="1335"/>
                  </a:moveTo>
                  <a:cubicBezTo>
                    <a:pt x="82" y="1314"/>
                    <a:pt x="66" y="1299"/>
                    <a:pt x="46" y="1299"/>
                  </a:cubicBezTo>
                  <a:cubicBezTo>
                    <a:pt x="27" y="1299"/>
                    <a:pt x="10" y="1314"/>
                    <a:pt x="10" y="1335"/>
                  </a:cubicBezTo>
                  <a:cubicBezTo>
                    <a:pt x="10" y="1354"/>
                    <a:pt x="27" y="1371"/>
                    <a:pt x="46" y="1371"/>
                  </a:cubicBezTo>
                  <a:cubicBezTo>
                    <a:pt x="66" y="1371"/>
                    <a:pt x="82" y="1354"/>
                    <a:pt x="82" y="1335"/>
                  </a:cubicBezTo>
                  <a:close/>
                  <a:moveTo>
                    <a:pt x="190" y="1274"/>
                  </a:moveTo>
                  <a:cubicBezTo>
                    <a:pt x="190" y="1253"/>
                    <a:pt x="174" y="1238"/>
                    <a:pt x="154" y="1238"/>
                  </a:cubicBezTo>
                  <a:cubicBezTo>
                    <a:pt x="135" y="1238"/>
                    <a:pt x="118" y="1253"/>
                    <a:pt x="118" y="1274"/>
                  </a:cubicBezTo>
                  <a:cubicBezTo>
                    <a:pt x="118" y="1293"/>
                    <a:pt x="135" y="1310"/>
                    <a:pt x="154" y="1310"/>
                  </a:cubicBezTo>
                  <a:cubicBezTo>
                    <a:pt x="174" y="1310"/>
                    <a:pt x="190" y="1293"/>
                    <a:pt x="190" y="1274"/>
                  </a:cubicBezTo>
                  <a:close/>
                  <a:moveTo>
                    <a:pt x="225" y="373"/>
                  </a:moveTo>
                  <a:cubicBezTo>
                    <a:pt x="225" y="353"/>
                    <a:pt x="209" y="337"/>
                    <a:pt x="189" y="337"/>
                  </a:cubicBezTo>
                  <a:cubicBezTo>
                    <a:pt x="170" y="337"/>
                    <a:pt x="153" y="353"/>
                    <a:pt x="153" y="373"/>
                  </a:cubicBezTo>
                  <a:cubicBezTo>
                    <a:pt x="153" y="392"/>
                    <a:pt x="170" y="409"/>
                    <a:pt x="189" y="409"/>
                  </a:cubicBezTo>
                  <a:cubicBezTo>
                    <a:pt x="209" y="409"/>
                    <a:pt x="225" y="392"/>
                    <a:pt x="225" y="373"/>
                  </a:cubicBezTo>
                  <a:close/>
                  <a:moveTo>
                    <a:pt x="508" y="189"/>
                  </a:moveTo>
                  <a:cubicBezTo>
                    <a:pt x="508" y="169"/>
                    <a:pt x="492" y="153"/>
                    <a:pt x="471" y="153"/>
                  </a:cubicBezTo>
                  <a:cubicBezTo>
                    <a:pt x="452" y="153"/>
                    <a:pt x="436" y="169"/>
                    <a:pt x="436" y="189"/>
                  </a:cubicBezTo>
                  <a:cubicBezTo>
                    <a:pt x="436" y="209"/>
                    <a:pt x="452" y="225"/>
                    <a:pt x="471" y="225"/>
                  </a:cubicBezTo>
                  <a:cubicBezTo>
                    <a:pt x="492" y="225"/>
                    <a:pt x="508" y="209"/>
                    <a:pt x="508" y="189"/>
                  </a:cubicBezTo>
                  <a:close/>
                  <a:moveTo>
                    <a:pt x="748" y="36"/>
                  </a:moveTo>
                  <a:cubicBezTo>
                    <a:pt x="748" y="16"/>
                    <a:pt x="732" y="0"/>
                    <a:pt x="711" y="0"/>
                  </a:cubicBezTo>
                  <a:cubicBezTo>
                    <a:pt x="692" y="0"/>
                    <a:pt x="676" y="16"/>
                    <a:pt x="676" y="36"/>
                  </a:cubicBezTo>
                  <a:cubicBezTo>
                    <a:pt x="676" y="55"/>
                    <a:pt x="692" y="72"/>
                    <a:pt x="711" y="72"/>
                  </a:cubicBezTo>
                  <a:cubicBezTo>
                    <a:pt x="732" y="72"/>
                    <a:pt x="748" y="55"/>
                    <a:pt x="748" y="36"/>
                  </a:cubicBezTo>
                  <a:close/>
                  <a:moveTo>
                    <a:pt x="810" y="144"/>
                  </a:moveTo>
                  <a:cubicBezTo>
                    <a:pt x="810" y="124"/>
                    <a:pt x="794" y="108"/>
                    <a:pt x="773" y="108"/>
                  </a:cubicBezTo>
                  <a:cubicBezTo>
                    <a:pt x="754" y="108"/>
                    <a:pt x="738" y="124"/>
                    <a:pt x="738" y="144"/>
                  </a:cubicBezTo>
                  <a:cubicBezTo>
                    <a:pt x="738" y="163"/>
                    <a:pt x="754" y="180"/>
                    <a:pt x="773" y="180"/>
                  </a:cubicBezTo>
                  <a:cubicBezTo>
                    <a:pt x="794" y="180"/>
                    <a:pt x="810" y="163"/>
                    <a:pt x="810" y="144"/>
                  </a:cubicBezTo>
                  <a:close/>
                  <a:moveTo>
                    <a:pt x="855" y="53"/>
                  </a:moveTo>
                  <a:cubicBezTo>
                    <a:pt x="855" y="33"/>
                    <a:pt x="839" y="17"/>
                    <a:pt x="819" y="17"/>
                  </a:cubicBezTo>
                  <a:cubicBezTo>
                    <a:pt x="799" y="17"/>
                    <a:pt x="783" y="33"/>
                    <a:pt x="783" y="53"/>
                  </a:cubicBezTo>
                  <a:cubicBezTo>
                    <a:pt x="783" y="73"/>
                    <a:pt x="799" y="89"/>
                    <a:pt x="819" y="89"/>
                  </a:cubicBezTo>
                  <a:cubicBezTo>
                    <a:pt x="839" y="89"/>
                    <a:pt x="855" y="73"/>
                    <a:pt x="855" y="53"/>
                  </a:cubicBezTo>
                  <a:close/>
                  <a:moveTo>
                    <a:pt x="1708" y="1199"/>
                  </a:moveTo>
                  <a:cubicBezTo>
                    <a:pt x="1708" y="1218"/>
                    <a:pt x="1724" y="1235"/>
                    <a:pt x="1745" y="1235"/>
                  </a:cubicBezTo>
                  <a:cubicBezTo>
                    <a:pt x="1764" y="1235"/>
                    <a:pt x="1780" y="1218"/>
                    <a:pt x="1780" y="1199"/>
                  </a:cubicBezTo>
                  <a:cubicBezTo>
                    <a:pt x="1780" y="1179"/>
                    <a:pt x="1764" y="1163"/>
                    <a:pt x="1745" y="1163"/>
                  </a:cubicBezTo>
                  <a:cubicBezTo>
                    <a:pt x="1724" y="1163"/>
                    <a:pt x="1708" y="1179"/>
                    <a:pt x="1708" y="1199"/>
                  </a:cubicBezTo>
                  <a:close/>
                  <a:moveTo>
                    <a:pt x="1701" y="888"/>
                  </a:moveTo>
                  <a:cubicBezTo>
                    <a:pt x="1701" y="907"/>
                    <a:pt x="1717" y="924"/>
                    <a:pt x="1738" y="924"/>
                  </a:cubicBezTo>
                  <a:cubicBezTo>
                    <a:pt x="1757" y="924"/>
                    <a:pt x="1773" y="907"/>
                    <a:pt x="1773" y="888"/>
                  </a:cubicBezTo>
                  <a:cubicBezTo>
                    <a:pt x="1773" y="868"/>
                    <a:pt x="1757" y="852"/>
                    <a:pt x="1738" y="852"/>
                  </a:cubicBezTo>
                  <a:cubicBezTo>
                    <a:pt x="1717" y="852"/>
                    <a:pt x="1701" y="868"/>
                    <a:pt x="1701" y="888"/>
                  </a:cubicBezTo>
                  <a:close/>
                  <a:moveTo>
                    <a:pt x="1616" y="488"/>
                  </a:moveTo>
                  <a:cubicBezTo>
                    <a:pt x="1616" y="507"/>
                    <a:pt x="1632" y="524"/>
                    <a:pt x="1652" y="524"/>
                  </a:cubicBezTo>
                  <a:cubicBezTo>
                    <a:pt x="1671" y="524"/>
                    <a:pt x="1688" y="507"/>
                    <a:pt x="1688" y="488"/>
                  </a:cubicBezTo>
                  <a:cubicBezTo>
                    <a:pt x="1688" y="468"/>
                    <a:pt x="1671" y="452"/>
                    <a:pt x="1652" y="452"/>
                  </a:cubicBezTo>
                  <a:cubicBezTo>
                    <a:pt x="1632" y="452"/>
                    <a:pt x="1616" y="468"/>
                    <a:pt x="1616" y="488"/>
                  </a:cubicBezTo>
                  <a:close/>
                  <a:moveTo>
                    <a:pt x="1485" y="452"/>
                  </a:moveTo>
                  <a:cubicBezTo>
                    <a:pt x="1485" y="471"/>
                    <a:pt x="1501" y="488"/>
                    <a:pt x="1521" y="488"/>
                  </a:cubicBezTo>
                  <a:cubicBezTo>
                    <a:pt x="1541" y="488"/>
                    <a:pt x="1557" y="471"/>
                    <a:pt x="1557" y="452"/>
                  </a:cubicBezTo>
                  <a:cubicBezTo>
                    <a:pt x="1557" y="432"/>
                    <a:pt x="1541" y="416"/>
                    <a:pt x="1521" y="416"/>
                  </a:cubicBezTo>
                  <a:cubicBezTo>
                    <a:pt x="1501" y="416"/>
                    <a:pt x="1485" y="432"/>
                    <a:pt x="1485" y="452"/>
                  </a:cubicBezTo>
                  <a:close/>
                  <a:moveTo>
                    <a:pt x="1373" y="165"/>
                  </a:moveTo>
                  <a:cubicBezTo>
                    <a:pt x="1373" y="184"/>
                    <a:pt x="1389" y="201"/>
                    <a:pt x="1410" y="201"/>
                  </a:cubicBezTo>
                  <a:cubicBezTo>
                    <a:pt x="1429" y="201"/>
                    <a:pt x="1445" y="184"/>
                    <a:pt x="1445" y="165"/>
                  </a:cubicBezTo>
                  <a:cubicBezTo>
                    <a:pt x="1445" y="145"/>
                    <a:pt x="1429" y="129"/>
                    <a:pt x="1410" y="129"/>
                  </a:cubicBezTo>
                  <a:cubicBezTo>
                    <a:pt x="1389" y="129"/>
                    <a:pt x="1373" y="145"/>
                    <a:pt x="1373" y="165"/>
                  </a:cubicBezTo>
                  <a:close/>
                  <a:moveTo>
                    <a:pt x="1536" y="567"/>
                  </a:moveTo>
                  <a:cubicBezTo>
                    <a:pt x="1536" y="586"/>
                    <a:pt x="1552" y="603"/>
                    <a:pt x="1572" y="603"/>
                  </a:cubicBezTo>
                  <a:cubicBezTo>
                    <a:pt x="1591" y="603"/>
                    <a:pt x="1608" y="586"/>
                    <a:pt x="1608" y="567"/>
                  </a:cubicBezTo>
                  <a:cubicBezTo>
                    <a:pt x="1608" y="547"/>
                    <a:pt x="1591" y="531"/>
                    <a:pt x="1572" y="531"/>
                  </a:cubicBezTo>
                  <a:cubicBezTo>
                    <a:pt x="1552" y="531"/>
                    <a:pt x="1536" y="547"/>
                    <a:pt x="1536" y="567"/>
                  </a:cubicBezTo>
                  <a:close/>
                  <a:moveTo>
                    <a:pt x="1698" y="1335"/>
                  </a:moveTo>
                  <a:cubicBezTo>
                    <a:pt x="1698" y="1354"/>
                    <a:pt x="1714" y="1371"/>
                    <a:pt x="1734" y="1371"/>
                  </a:cubicBezTo>
                  <a:cubicBezTo>
                    <a:pt x="1753" y="1371"/>
                    <a:pt x="1770" y="1354"/>
                    <a:pt x="1770" y="1335"/>
                  </a:cubicBezTo>
                  <a:cubicBezTo>
                    <a:pt x="1770" y="1314"/>
                    <a:pt x="1753" y="1299"/>
                    <a:pt x="1734" y="1299"/>
                  </a:cubicBezTo>
                  <a:cubicBezTo>
                    <a:pt x="1714" y="1299"/>
                    <a:pt x="1698" y="1314"/>
                    <a:pt x="1698" y="1335"/>
                  </a:cubicBezTo>
                  <a:close/>
                  <a:moveTo>
                    <a:pt x="1590" y="1274"/>
                  </a:moveTo>
                  <a:cubicBezTo>
                    <a:pt x="1590" y="1293"/>
                    <a:pt x="1606" y="1310"/>
                    <a:pt x="1626" y="1310"/>
                  </a:cubicBezTo>
                  <a:cubicBezTo>
                    <a:pt x="1645" y="1310"/>
                    <a:pt x="1662" y="1293"/>
                    <a:pt x="1662" y="1274"/>
                  </a:cubicBezTo>
                  <a:cubicBezTo>
                    <a:pt x="1662" y="1253"/>
                    <a:pt x="1645" y="1238"/>
                    <a:pt x="1626" y="1238"/>
                  </a:cubicBezTo>
                  <a:cubicBezTo>
                    <a:pt x="1606" y="1238"/>
                    <a:pt x="1590" y="1253"/>
                    <a:pt x="1590" y="1274"/>
                  </a:cubicBezTo>
                  <a:close/>
                  <a:moveTo>
                    <a:pt x="1555" y="373"/>
                  </a:moveTo>
                  <a:cubicBezTo>
                    <a:pt x="1555" y="392"/>
                    <a:pt x="1571" y="409"/>
                    <a:pt x="1591" y="409"/>
                  </a:cubicBezTo>
                  <a:cubicBezTo>
                    <a:pt x="1610" y="409"/>
                    <a:pt x="1627" y="392"/>
                    <a:pt x="1627" y="373"/>
                  </a:cubicBezTo>
                  <a:cubicBezTo>
                    <a:pt x="1627" y="353"/>
                    <a:pt x="1610" y="337"/>
                    <a:pt x="1591" y="337"/>
                  </a:cubicBezTo>
                  <a:cubicBezTo>
                    <a:pt x="1571" y="337"/>
                    <a:pt x="1555" y="353"/>
                    <a:pt x="1555" y="373"/>
                  </a:cubicBezTo>
                  <a:close/>
                  <a:moveTo>
                    <a:pt x="1272" y="189"/>
                  </a:moveTo>
                  <a:cubicBezTo>
                    <a:pt x="1272" y="209"/>
                    <a:pt x="1288" y="225"/>
                    <a:pt x="1309" y="225"/>
                  </a:cubicBezTo>
                  <a:cubicBezTo>
                    <a:pt x="1328" y="225"/>
                    <a:pt x="1344" y="209"/>
                    <a:pt x="1344" y="189"/>
                  </a:cubicBezTo>
                  <a:cubicBezTo>
                    <a:pt x="1344" y="169"/>
                    <a:pt x="1328" y="153"/>
                    <a:pt x="1309" y="153"/>
                  </a:cubicBezTo>
                  <a:cubicBezTo>
                    <a:pt x="1288" y="153"/>
                    <a:pt x="1272" y="169"/>
                    <a:pt x="1272" y="189"/>
                  </a:cubicBezTo>
                  <a:close/>
                  <a:moveTo>
                    <a:pt x="1032" y="36"/>
                  </a:moveTo>
                  <a:cubicBezTo>
                    <a:pt x="1032" y="55"/>
                    <a:pt x="1048" y="72"/>
                    <a:pt x="1069" y="72"/>
                  </a:cubicBezTo>
                  <a:cubicBezTo>
                    <a:pt x="1088" y="72"/>
                    <a:pt x="1104" y="55"/>
                    <a:pt x="1104" y="36"/>
                  </a:cubicBezTo>
                  <a:cubicBezTo>
                    <a:pt x="1104" y="16"/>
                    <a:pt x="1088" y="0"/>
                    <a:pt x="1069" y="0"/>
                  </a:cubicBezTo>
                  <a:cubicBezTo>
                    <a:pt x="1048" y="0"/>
                    <a:pt x="1032" y="16"/>
                    <a:pt x="1032" y="36"/>
                  </a:cubicBezTo>
                  <a:close/>
                  <a:moveTo>
                    <a:pt x="970" y="144"/>
                  </a:moveTo>
                  <a:cubicBezTo>
                    <a:pt x="970" y="163"/>
                    <a:pt x="986" y="180"/>
                    <a:pt x="1007" y="180"/>
                  </a:cubicBezTo>
                  <a:cubicBezTo>
                    <a:pt x="1026" y="180"/>
                    <a:pt x="1042" y="163"/>
                    <a:pt x="1042" y="144"/>
                  </a:cubicBezTo>
                  <a:cubicBezTo>
                    <a:pt x="1042" y="124"/>
                    <a:pt x="1026" y="108"/>
                    <a:pt x="1007" y="108"/>
                  </a:cubicBezTo>
                  <a:cubicBezTo>
                    <a:pt x="986" y="108"/>
                    <a:pt x="970" y="124"/>
                    <a:pt x="970" y="144"/>
                  </a:cubicBezTo>
                  <a:close/>
                  <a:moveTo>
                    <a:pt x="925" y="53"/>
                  </a:moveTo>
                  <a:cubicBezTo>
                    <a:pt x="925" y="73"/>
                    <a:pt x="941" y="89"/>
                    <a:pt x="961" y="89"/>
                  </a:cubicBezTo>
                  <a:cubicBezTo>
                    <a:pt x="981" y="89"/>
                    <a:pt x="997" y="73"/>
                    <a:pt x="997" y="53"/>
                  </a:cubicBezTo>
                  <a:cubicBezTo>
                    <a:pt x="997" y="33"/>
                    <a:pt x="981" y="17"/>
                    <a:pt x="961" y="17"/>
                  </a:cubicBezTo>
                  <a:cubicBezTo>
                    <a:pt x="941" y="17"/>
                    <a:pt x="925" y="33"/>
                    <a:pt x="925" y="53"/>
                  </a:cubicBezTo>
                  <a:close/>
                  <a:moveTo>
                    <a:pt x="789" y="1469"/>
                  </a:moveTo>
                  <a:cubicBezTo>
                    <a:pt x="632" y="1496"/>
                    <a:pt x="508" y="1583"/>
                    <a:pt x="405" y="1656"/>
                  </a:cubicBezTo>
                  <a:cubicBezTo>
                    <a:pt x="314" y="1720"/>
                    <a:pt x="235" y="1776"/>
                    <a:pt x="158" y="1776"/>
                  </a:cubicBezTo>
                  <a:cubicBezTo>
                    <a:pt x="145" y="1776"/>
                    <a:pt x="136" y="1786"/>
                    <a:pt x="136" y="1798"/>
                  </a:cubicBezTo>
                  <a:cubicBezTo>
                    <a:pt x="136" y="1810"/>
                    <a:pt x="145" y="1820"/>
                    <a:pt x="158" y="1820"/>
                  </a:cubicBezTo>
                  <a:cubicBezTo>
                    <a:pt x="249" y="1820"/>
                    <a:pt x="333" y="1761"/>
                    <a:pt x="431" y="1692"/>
                  </a:cubicBezTo>
                  <a:cubicBezTo>
                    <a:pt x="532" y="1620"/>
                    <a:pt x="645" y="1541"/>
                    <a:pt x="788" y="1514"/>
                  </a:cubicBezTo>
                  <a:lnTo>
                    <a:pt x="789" y="1469"/>
                  </a:lnTo>
                  <a:close/>
                  <a:moveTo>
                    <a:pt x="1622" y="1776"/>
                  </a:moveTo>
                  <a:cubicBezTo>
                    <a:pt x="1545" y="1776"/>
                    <a:pt x="1466" y="1720"/>
                    <a:pt x="1375" y="1656"/>
                  </a:cubicBezTo>
                  <a:cubicBezTo>
                    <a:pt x="1272" y="1583"/>
                    <a:pt x="1148" y="1496"/>
                    <a:pt x="989" y="1469"/>
                  </a:cubicBezTo>
                  <a:cubicBezTo>
                    <a:pt x="991" y="1513"/>
                    <a:pt x="991" y="1513"/>
                    <a:pt x="991" y="1513"/>
                  </a:cubicBezTo>
                  <a:cubicBezTo>
                    <a:pt x="1134" y="1540"/>
                    <a:pt x="1247" y="1620"/>
                    <a:pt x="1349" y="1692"/>
                  </a:cubicBezTo>
                  <a:cubicBezTo>
                    <a:pt x="1447" y="1761"/>
                    <a:pt x="1531" y="1820"/>
                    <a:pt x="1622" y="1820"/>
                  </a:cubicBezTo>
                  <a:cubicBezTo>
                    <a:pt x="1635" y="1820"/>
                    <a:pt x="1644" y="1810"/>
                    <a:pt x="1644" y="1798"/>
                  </a:cubicBezTo>
                  <a:cubicBezTo>
                    <a:pt x="1644" y="1786"/>
                    <a:pt x="1635" y="1776"/>
                    <a:pt x="1622" y="1776"/>
                  </a:cubicBezTo>
                  <a:close/>
                </a:path>
              </a:pathLst>
            </a:custGeom>
            <a:solidFill>
              <a:srgbClr val="20386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1282FB31-ADD6-CD8E-9DAB-3A8016A3F877}"/>
              </a:ext>
            </a:extLst>
          </p:cNvPr>
          <p:cNvGrpSpPr/>
          <p:nvPr/>
        </p:nvGrpSpPr>
        <p:grpSpPr>
          <a:xfrm>
            <a:off x="3253457" y="3340376"/>
            <a:ext cx="548640" cy="468718"/>
            <a:chOff x="12060422" y="2347906"/>
            <a:chExt cx="604621" cy="604621"/>
          </a:xfrm>
        </p:grpSpPr>
        <p:sp>
          <p:nvSpPr>
            <p:cNvPr id="18" name="AutoShape 70">
              <a:extLst>
                <a:ext uri="{FF2B5EF4-FFF2-40B4-BE49-F238E27FC236}">
                  <a16:creationId xmlns:a16="http://schemas.microsoft.com/office/drawing/2014/main" id="{AC68BF26-BB2A-B29E-3153-F5E9FE8B5AD9}"/>
                </a:ext>
              </a:extLst>
            </p:cNvPr>
            <p:cNvSpPr>
              <a:spLocks noChangeAspect="1" noChangeArrowheads="1" noTextEdit="1"/>
            </p:cNvSpPr>
            <p:nvPr/>
          </p:nvSpPr>
          <p:spPr bwMode="auto">
            <a:xfrm>
              <a:off x="12060422" y="2347906"/>
              <a:ext cx="604621" cy="604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4">
              <a:extLst>
                <a:ext uri="{FF2B5EF4-FFF2-40B4-BE49-F238E27FC236}">
                  <a16:creationId xmlns:a16="http://schemas.microsoft.com/office/drawing/2014/main" id="{9D46EEA8-9EB1-96C7-179F-E029ABA03942}"/>
                </a:ext>
              </a:extLst>
            </p:cNvPr>
            <p:cNvSpPr>
              <a:spLocks/>
            </p:cNvSpPr>
            <p:nvPr/>
          </p:nvSpPr>
          <p:spPr bwMode="auto">
            <a:xfrm>
              <a:off x="12298889" y="2582292"/>
              <a:ext cx="135267" cy="135267"/>
            </a:xfrm>
            <a:custGeom>
              <a:avLst/>
              <a:gdLst>
                <a:gd name="T0" fmla="*/ 514 w 514"/>
                <a:gd name="T1" fmla="*/ 238 h 514"/>
                <a:gd name="T2" fmla="*/ 439 w 514"/>
                <a:gd name="T3" fmla="*/ 75 h 514"/>
                <a:gd name="T4" fmla="*/ 405 w 514"/>
                <a:gd name="T5" fmla="*/ 47 h 514"/>
                <a:gd name="T6" fmla="*/ 257 w 514"/>
                <a:gd name="T7" fmla="*/ 0 h 514"/>
                <a:gd name="T8" fmla="*/ 168 w 514"/>
                <a:gd name="T9" fmla="*/ 16 h 514"/>
                <a:gd name="T10" fmla="*/ 128 w 514"/>
                <a:gd name="T11" fmla="*/ 35 h 514"/>
                <a:gd name="T12" fmla="*/ 4 w 514"/>
                <a:gd name="T13" fmla="*/ 214 h 514"/>
                <a:gd name="T14" fmla="*/ 0 w 514"/>
                <a:gd name="T15" fmla="*/ 257 h 514"/>
                <a:gd name="T16" fmla="*/ 0 w 514"/>
                <a:gd name="T17" fmla="*/ 258 h 514"/>
                <a:gd name="T18" fmla="*/ 84 w 514"/>
                <a:gd name="T19" fmla="*/ 446 h 514"/>
                <a:gd name="T20" fmla="*/ 119 w 514"/>
                <a:gd name="T21" fmla="*/ 473 h 514"/>
                <a:gd name="T22" fmla="*/ 257 w 514"/>
                <a:gd name="T23" fmla="*/ 514 h 514"/>
                <a:gd name="T24" fmla="*/ 391 w 514"/>
                <a:gd name="T25" fmla="*/ 477 h 514"/>
                <a:gd name="T26" fmla="*/ 426 w 514"/>
                <a:gd name="T27" fmla="*/ 451 h 514"/>
                <a:gd name="T28" fmla="*/ 513 w 514"/>
                <a:gd name="T29" fmla="*/ 282 h 514"/>
                <a:gd name="T30" fmla="*/ 514 w 514"/>
                <a:gd name="T31" fmla="*/ 257 h 514"/>
                <a:gd name="T32" fmla="*/ 514 w 514"/>
                <a:gd name="T33" fmla="*/ 23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4" h="514">
                  <a:moveTo>
                    <a:pt x="514" y="238"/>
                  </a:moveTo>
                  <a:cubicBezTo>
                    <a:pt x="509" y="175"/>
                    <a:pt x="482" y="118"/>
                    <a:pt x="439" y="75"/>
                  </a:cubicBezTo>
                  <a:cubicBezTo>
                    <a:pt x="429" y="65"/>
                    <a:pt x="417" y="55"/>
                    <a:pt x="405" y="47"/>
                  </a:cubicBezTo>
                  <a:cubicBezTo>
                    <a:pt x="364" y="17"/>
                    <a:pt x="313" y="0"/>
                    <a:pt x="257" y="0"/>
                  </a:cubicBezTo>
                  <a:cubicBezTo>
                    <a:pt x="226" y="0"/>
                    <a:pt x="196" y="5"/>
                    <a:pt x="168" y="16"/>
                  </a:cubicBezTo>
                  <a:cubicBezTo>
                    <a:pt x="154" y="21"/>
                    <a:pt x="141" y="27"/>
                    <a:pt x="128" y="35"/>
                  </a:cubicBezTo>
                  <a:cubicBezTo>
                    <a:pt x="64" y="72"/>
                    <a:pt x="17" y="138"/>
                    <a:pt x="4" y="214"/>
                  </a:cubicBezTo>
                  <a:cubicBezTo>
                    <a:pt x="2" y="228"/>
                    <a:pt x="0" y="242"/>
                    <a:pt x="0" y="257"/>
                  </a:cubicBezTo>
                  <a:cubicBezTo>
                    <a:pt x="0" y="257"/>
                    <a:pt x="0" y="258"/>
                    <a:pt x="0" y="258"/>
                  </a:cubicBezTo>
                  <a:cubicBezTo>
                    <a:pt x="1" y="333"/>
                    <a:pt x="33" y="400"/>
                    <a:pt x="84" y="446"/>
                  </a:cubicBezTo>
                  <a:cubicBezTo>
                    <a:pt x="95" y="456"/>
                    <a:pt x="106" y="465"/>
                    <a:pt x="119" y="473"/>
                  </a:cubicBezTo>
                  <a:cubicBezTo>
                    <a:pt x="159" y="499"/>
                    <a:pt x="206" y="514"/>
                    <a:pt x="257" y="514"/>
                  </a:cubicBezTo>
                  <a:cubicBezTo>
                    <a:pt x="306" y="514"/>
                    <a:pt x="352" y="500"/>
                    <a:pt x="391" y="477"/>
                  </a:cubicBezTo>
                  <a:cubicBezTo>
                    <a:pt x="403" y="469"/>
                    <a:pt x="415" y="460"/>
                    <a:pt x="426" y="451"/>
                  </a:cubicBezTo>
                  <a:cubicBezTo>
                    <a:pt x="474" y="409"/>
                    <a:pt x="507" y="349"/>
                    <a:pt x="513" y="282"/>
                  </a:cubicBezTo>
                  <a:cubicBezTo>
                    <a:pt x="514" y="274"/>
                    <a:pt x="514" y="265"/>
                    <a:pt x="514" y="257"/>
                  </a:cubicBezTo>
                  <a:cubicBezTo>
                    <a:pt x="514" y="251"/>
                    <a:pt x="514" y="244"/>
                    <a:pt x="514" y="238"/>
                  </a:cubicBezTo>
                  <a:close/>
                </a:path>
              </a:pathLst>
            </a:custGeom>
            <a:solidFill>
              <a:srgbClr val="203864"/>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8E4DFF34-1EDD-91AB-82B3-506AD1EEA555}"/>
                </a:ext>
              </a:extLst>
            </p:cNvPr>
            <p:cNvSpPr>
              <a:spLocks/>
            </p:cNvSpPr>
            <p:nvPr/>
          </p:nvSpPr>
          <p:spPr bwMode="auto">
            <a:xfrm>
              <a:off x="12085493" y="2375309"/>
              <a:ext cx="555062" cy="549232"/>
            </a:xfrm>
            <a:custGeom>
              <a:avLst/>
              <a:gdLst>
                <a:gd name="connsiteX0" fmla="*/ 1091572 w 1511300"/>
                <a:gd name="connsiteY0" fmla="*/ 1350963 h 1495425"/>
                <a:gd name="connsiteX1" fmla="*/ 1210303 w 1511300"/>
                <a:gd name="connsiteY1" fmla="*/ 1350963 h 1495425"/>
                <a:gd name="connsiteX2" fmla="*/ 1216025 w 1511300"/>
                <a:gd name="connsiteY2" fmla="*/ 1356519 h 1495425"/>
                <a:gd name="connsiteX3" fmla="*/ 1210303 w 1511300"/>
                <a:gd name="connsiteY3" fmla="*/ 1362075 h 1495425"/>
                <a:gd name="connsiteX4" fmla="*/ 1091572 w 1511300"/>
                <a:gd name="connsiteY4" fmla="*/ 1362075 h 1495425"/>
                <a:gd name="connsiteX5" fmla="*/ 1085850 w 1511300"/>
                <a:gd name="connsiteY5" fmla="*/ 1356519 h 1495425"/>
                <a:gd name="connsiteX6" fmla="*/ 1091572 w 1511300"/>
                <a:gd name="connsiteY6" fmla="*/ 1350963 h 1495425"/>
                <a:gd name="connsiteX7" fmla="*/ 344378 w 1511300"/>
                <a:gd name="connsiteY7" fmla="*/ 1285875 h 1495425"/>
                <a:gd name="connsiteX8" fmla="*/ 348648 w 1511300"/>
                <a:gd name="connsiteY8" fmla="*/ 1285875 h 1495425"/>
                <a:gd name="connsiteX9" fmla="*/ 350783 w 1511300"/>
                <a:gd name="connsiteY9" fmla="*/ 1286597 h 1495425"/>
                <a:gd name="connsiteX10" fmla="*/ 372844 w 1511300"/>
                <a:gd name="connsiteY10" fmla="*/ 1296699 h 1495425"/>
                <a:gd name="connsiteX11" fmla="*/ 382807 w 1511300"/>
                <a:gd name="connsiteY11" fmla="*/ 1301750 h 1495425"/>
                <a:gd name="connsiteX12" fmla="*/ 413407 w 1511300"/>
                <a:gd name="connsiteY12" fmla="*/ 1316182 h 1495425"/>
                <a:gd name="connsiteX13" fmla="*/ 417677 w 1511300"/>
                <a:gd name="connsiteY13" fmla="*/ 1327727 h 1495425"/>
                <a:gd name="connsiteX14" fmla="*/ 410561 w 1511300"/>
                <a:gd name="connsiteY14" fmla="*/ 1333500 h 1495425"/>
                <a:gd name="connsiteX15" fmla="*/ 407002 w 1511300"/>
                <a:gd name="connsiteY15" fmla="*/ 1332779 h 1495425"/>
                <a:gd name="connsiteX16" fmla="*/ 383518 w 1511300"/>
                <a:gd name="connsiteY16" fmla="*/ 1321233 h 1495425"/>
                <a:gd name="connsiteX17" fmla="*/ 373555 w 1511300"/>
                <a:gd name="connsiteY17" fmla="*/ 1316182 h 1495425"/>
                <a:gd name="connsiteX18" fmla="*/ 349359 w 1511300"/>
                <a:gd name="connsiteY18" fmla="*/ 1304636 h 1495425"/>
                <a:gd name="connsiteX19" fmla="*/ 346513 w 1511300"/>
                <a:gd name="connsiteY19" fmla="*/ 1303193 h 1495425"/>
                <a:gd name="connsiteX20" fmla="*/ 286023 w 1511300"/>
                <a:gd name="connsiteY20" fmla="*/ 1332779 h 1495425"/>
                <a:gd name="connsiteX21" fmla="*/ 282465 w 1511300"/>
                <a:gd name="connsiteY21" fmla="*/ 1333500 h 1495425"/>
                <a:gd name="connsiteX22" fmla="*/ 275349 w 1511300"/>
                <a:gd name="connsiteY22" fmla="*/ 1327727 h 1495425"/>
                <a:gd name="connsiteX23" fmla="*/ 275349 w 1511300"/>
                <a:gd name="connsiteY23" fmla="*/ 1321233 h 1495425"/>
                <a:gd name="connsiteX24" fmla="*/ 279619 w 1511300"/>
                <a:gd name="connsiteY24" fmla="*/ 1316182 h 1495425"/>
                <a:gd name="connsiteX25" fmla="*/ 342243 w 1511300"/>
                <a:gd name="connsiteY25" fmla="*/ 1286597 h 1495425"/>
                <a:gd name="connsiteX26" fmla="*/ 344378 w 1511300"/>
                <a:gd name="connsiteY26" fmla="*/ 1285875 h 1495425"/>
                <a:gd name="connsiteX27" fmla="*/ 1185465 w 1511300"/>
                <a:gd name="connsiteY27" fmla="*/ 1253126 h 1495425"/>
                <a:gd name="connsiteX28" fmla="*/ 1194038 w 1511300"/>
                <a:gd name="connsiteY28" fmla="*/ 1253126 h 1495425"/>
                <a:gd name="connsiteX29" fmla="*/ 1216183 w 1511300"/>
                <a:gd name="connsiteY29" fmla="*/ 1275611 h 1495425"/>
                <a:gd name="connsiteX30" fmla="*/ 1217612 w 1511300"/>
                <a:gd name="connsiteY30" fmla="*/ 1279963 h 1495425"/>
                <a:gd name="connsiteX31" fmla="*/ 1216183 w 1511300"/>
                <a:gd name="connsiteY31" fmla="*/ 1284315 h 1495425"/>
                <a:gd name="connsiteX32" fmla="*/ 1206897 w 1511300"/>
                <a:gd name="connsiteY32" fmla="*/ 1284315 h 1495425"/>
                <a:gd name="connsiteX33" fmla="*/ 1199753 w 1511300"/>
                <a:gd name="connsiteY33" fmla="*/ 1277061 h 1495425"/>
                <a:gd name="connsiteX34" fmla="*/ 1196181 w 1511300"/>
                <a:gd name="connsiteY34" fmla="*/ 1273435 h 1495425"/>
                <a:gd name="connsiteX35" fmla="*/ 1196181 w 1511300"/>
                <a:gd name="connsiteY35" fmla="*/ 1274885 h 1495425"/>
                <a:gd name="connsiteX36" fmla="*/ 1196181 w 1511300"/>
                <a:gd name="connsiteY36" fmla="*/ 1324933 h 1495425"/>
                <a:gd name="connsiteX37" fmla="*/ 1196181 w 1511300"/>
                <a:gd name="connsiteY37" fmla="*/ 1328559 h 1495425"/>
                <a:gd name="connsiteX38" fmla="*/ 1189752 w 1511300"/>
                <a:gd name="connsiteY38" fmla="*/ 1335087 h 1495425"/>
                <a:gd name="connsiteX39" fmla="*/ 1183322 w 1511300"/>
                <a:gd name="connsiteY39" fmla="*/ 1328559 h 1495425"/>
                <a:gd name="connsiteX40" fmla="*/ 1183322 w 1511300"/>
                <a:gd name="connsiteY40" fmla="*/ 1272709 h 1495425"/>
                <a:gd name="connsiteX41" fmla="*/ 1174750 w 1511300"/>
                <a:gd name="connsiteY41" fmla="*/ 1281413 h 1495425"/>
                <a:gd name="connsiteX42" fmla="*/ 1172607 w 1511300"/>
                <a:gd name="connsiteY42" fmla="*/ 1284315 h 1495425"/>
                <a:gd name="connsiteX43" fmla="*/ 1163320 w 1511300"/>
                <a:gd name="connsiteY43" fmla="*/ 1284315 h 1495425"/>
                <a:gd name="connsiteX44" fmla="*/ 1163320 w 1511300"/>
                <a:gd name="connsiteY44" fmla="*/ 1275611 h 1495425"/>
                <a:gd name="connsiteX45" fmla="*/ 1176178 w 1511300"/>
                <a:gd name="connsiteY45" fmla="*/ 1261830 h 1495425"/>
                <a:gd name="connsiteX46" fmla="*/ 1182608 w 1511300"/>
                <a:gd name="connsiteY46" fmla="*/ 1256027 h 1495425"/>
                <a:gd name="connsiteX47" fmla="*/ 1185465 w 1511300"/>
                <a:gd name="connsiteY47" fmla="*/ 1253126 h 1495425"/>
                <a:gd name="connsiteX48" fmla="*/ 1114266 w 1511300"/>
                <a:gd name="connsiteY48" fmla="*/ 1251675 h 1495425"/>
                <a:gd name="connsiteX49" fmla="*/ 1117838 w 1511300"/>
                <a:gd name="connsiteY49" fmla="*/ 1253126 h 1495425"/>
                <a:gd name="connsiteX50" fmla="*/ 1139269 w 1511300"/>
                <a:gd name="connsiteY50" fmla="*/ 1275611 h 1495425"/>
                <a:gd name="connsiteX51" fmla="*/ 1141412 w 1511300"/>
                <a:gd name="connsiteY51" fmla="*/ 1279963 h 1495425"/>
                <a:gd name="connsiteX52" fmla="*/ 1140698 w 1511300"/>
                <a:gd name="connsiteY52" fmla="*/ 1282864 h 1495425"/>
                <a:gd name="connsiteX53" fmla="*/ 1139269 w 1511300"/>
                <a:gd name="connsiteY53" fmla="*/ 1284315 h 1495425"/>
                <a:gd name="connsiteX54" fmla="*/ 1130697 w 1511300"/>
                <a:gd name="connsiteY54" fmla="*/ 1284315 h 1495425"/>
                <a:gd name="connsiteX55" fmla="*/ 1123553 w 1511300"/>
                <a:gd name="connsiteY55" fmla="*/ 1277061 h 1495425"/>
                <a:gd name="connsiteX56" fmla="*/ 1119981 w 1511300"/>
                <a:gd name="connsiteY56" fmla="*/ 1273435 h 1495425"/>
                <a:gd name="connsiteX57" fmla="*/ 1119267 w 1511300"/>
                <a:gd name="connsiteY57" fmla="*/ 1272709 h 1495425"/>
                <a:gd name="connsiteX58" fmla="*/ 1119267 w 1511300"/>
                <a:gd name="connsiteY58" fmla="*/ 1274885 h 1495425"/>
                <a:gd name="connsiteX59" fmla="*/ 1119267 w 1511300"/>
                <a:gd name="connsiteY59" fmla="*/ 1324933 h 1495425"/>
                <a:gd name="connsiteX60" fmla="*/ 1119267 w 1511300"/>
                <a:gd name="connsiteY60" fmla="*/ 1328559 h 1495425"/>
                <a:gd name="connsiteX61" fmla="*/ 1112837 w 1511300"/>
                <a:gd name="connsiteY61" fmla="*/ 1335087 h 1495425"/>
                <a:gd name="connsiteX62" fmla="*/ 1107122 w 1511300"/>
                <a:gd name="connsiteY62" fmla="*/ 1328559 h 1495425"/>
                <a:gd name="connsiteX63" fmla="*/ 1107122 w 1511300"/>
                <a:gd name="connsiteY63" fmla="*/ 1272709 h 1495425"/>
                <a:gd name="connsiteX64" fmla="*/ 1098550 w 1511300"/>
                <a:gd name="connsiteY64" fmla="*/ 1281413 h 1495425"/>
                <a:gd name="connsiteX65" fmla="*/ 1095692 w 1511300"/>
                <a:gd name="connsiteY65" fmla="*/ 1284315 h 1495425"/>
                <a:gd name="connsiteX66" fmla="*/ 1087120 w 1511300"/>
                <a:gd name="connsiteY66" fmla="*/ 1284315 h 1495425"/>
                <a:gd name="connsiteX67" fmla="*/ 1087120 w 1511300"/>
                <a:gd name="connsiteY67" fmla="*/ 1275611 h 1495425"/>
                <a:gd name="connsiteX68" fmla="*/ 1099978 w 1511300"/>
                <a:gd name="connsiteY68" fmla="*/ 1261830 h 1495425"/>
                <a:gd name="connsiteX69" fmla="*/ 1105693 w 1511300"/>
                <a:gd name="connsiteY69" fmla="*/ 1256027 h 1495425"/>
                <a:gd name="connsiteX70" fmla="*/ 1108551 w 1511300"/>
                <a:gd name="connsiteY70" fmla="*/ 1253126 h 1495425"/>
                <a:gd name="connsiteX71" fmla="*/ 1114266 w 1511300"/>
                <a:gd name="connsiteY71" fmla="*/ 1251675 h 1495425"/>
                <a:gd name="connsiteX72" fmla="*/ 1119187 w 1511300"/>
                <a:gd name="connsiteY72" fmla="*/ 1173163 h 1495425"/>
                <a:gd name="connsiteX73" fmla="*/ 1119187 w 1511300"/>
                <a:gd name="connsiteY73" fmla="*/ 1205225 h 1495425"/>
                <a:gd name="connsiteX74" fmla="*/ 1119187 w 1511300"/>
                <a:gd name="connsiteY74" fmla="*/ 1217613 h 1495425"/>
                <a:gd name="connsiteX75" fmla="*/ 1128384 w 1511300"/>
                <a:gd name="connsiteY75" fmla="*/ 1217613 h 1495425"/>
                <a:gd name="connsiteX76" fmla="*/ 1184275 w 1511300"/>
                <a:gd name="connsiteY76" fmla="*/ 1217613 h 1495425"/>
                <a:gd name="connsiteX77" fmla="*/ 1184275 w 1511300"/>
                <a:gd name="connsiteY77" fmla="*/ 1173163 h 1495425"/>
                <a:gd name="connsiteX78" fmla="*/ 1119187 w 1511300"/>
                <a:gd name="connsiteY78" fmla="*/ 1173163 h 1495425"/>
                <a:gd name="connsiteX79" fmla="*/ 1014648 w 1511300"/>
                <a:gd name="connsiteY79" fmla="*/ 1173163 h 1495425"/>
                <a:gd name="connsiteX80" fmla="*/ 1009650 w 1511300"/>
                <a:gd name="connsiteY80" fmla="*/ 1178880 h 1495425"/>
                <a:gd name="connsiteX81" fmla="*/ 1009650 w 1511300"/>
                <a:gd name="connsiteY81" fmla="*/ 1390411 h 1495425"/>
                <a:gd name="connsiteX82" fmla="*/ 1014648 w 1511300"/>
                <a:gd name="connsiteY82" fmla="*/ 1395413 h 1495425"/>
                <a:gd name="connsiteX83" fmla="*/ 1288815 w 1511300"/>
                <a:gd name="connsiteY83" fmla="*/ 1395413 h 1495425"/>
                <a:gd name="connsiteX84" fmla="*/ 1293813 w 1511300"/>
                <a:gd name="connsiteY84" fmla="*/ 1390411 h 1495425"/>
                <a:gd name="connsiteX85" fmla="*/ 1293813 w 1511300"/>
                <a:gd name="connsiteY85" fmla="*/ 1381121 h 1495425"/>
                <a:gd name="connsiteX86" fmla="*/ 1293813 w 1511300"/>
                <a:gd name="connsiteY86" fmla="*/ 1343960 h 1495425"/>
                <a:gd name="connsiteX87" fmla="*/ 1293813 w 1511300"/>
                <a:gd name="connsiteY87" fmla="*/ 1331096 h 1495425"/>
                <a:gd name="connsiteX88" fmla="*/ 1293813 w 1511300"/>
                <a:gd name="connsiteY88" fmla="*/ 1178880 h 1495425"/>
                <a:gd name="connsiteX89" fmla="*/ 1288815 w 1511300"/>
                <a:gd name="connsiteY89" fmla="*/ 1173163 h 1495425"/>
                <a:gd name="connsiteX90" fmla="*/ 1195998 w 1511300"/>
                <a:gd name="connsiteY90" fmla="*/ 1173163 h 1495425"/>
                <a:gd name="connsiteX91" fmla="*/ 1195998 w 1511300"/>
                <a:gd name="connsiteY91" fmla="*/ 1216756 h 1495425"/>
                <a:gd name="connsiteX92" fmla="*/ 1184575 w 1511300"/>
                <a:gd name="connsiteY92" fmla="*/ 1228190 h 1495425"/>
                <a:gd name="connsiteX93" fmla="*/ 1136024 w 1511300"/>
                <a:gd name="connsiteY93" fmla="*/ 1228190 h 1495425"/>
                <a:gd name="connsiteX94" fmla="*/ 1118889 w 1511300"/>
                <a:gd name="connsiteY94" fmla="*/ 1228190 h 1495425"/>
                <a:gd name="connsiteX95" fmla="*/ 1107465 w 1511300"/>
                <a:gd name="connsiteY95" fmla="*/ 1216756 h 1495425"/>
                <a:gd name="connsiteX96" fmla="*/ 1107465 w 1511300"/>
                <a:gd name="connsiteY96" fmla="*/ 1188885 h 1495425"/>
                <a:gd name="connsiteX97" fmla="*/ 1107465 w 1511300"/>
                <a:gd name="connsiteY97" fmla="*/ 1173163 h 1495425"/>
                <a:gd name="connsiteX98" fmla="*/ 1096042 w 1511300"/>
                <a:gd name="connsiteY98" fmla="*/ 1173163 h 1495425"/>
                <a:gd name="connsiteX99" fmla="*/ 1057487 w 1511300"/>
                <a:gd name="connsiteY99" fmla="*/ 1173163 h 1495425"/>
                <a:gd name="connsiteX100" fmla="*/ 1014648 w 1511300"/>
                <a:gd name="connsiteY100" fmla="*/ 1173163 h 1495425"/>
                <a:gd name="connsiteX101" fmla="*/ 333240 w 1511300"/>
                <a:gd name="connsiteY101" fmla="*/ 1146175 h 1495425"/>
                <a:gd name="connsiteX102" fmla="*/ 317458 w 1511300"/>
                <a:gd name="connsiteY102" fmla="*/ 1161850 h 1495425"/>
                <a:gd name="connsiteX103" fmla="*/ 317458 w 1511300"/>
                <a:gd name="connsiteY103" fmla="*/ 1208875 h 1495425"/>
                <a:gd name="connsiteX104" fmla="*/ 262940 w 1511300"/>
                <a:gd name="connsiteY104" fmla="*/ 1208875 h 1495425"/>
                <a:gd name="connsiteX105" fmla="*/ 248593 w 1511300"/>
                <a:gd name="connsiteY105" fmla="*/ 1223125 h 1495425"/>
                <a:gd name="connsiteX106" fmla="*/ 248593 w 1511300"/>
                <a:gd name="connsiteY106" fmla="*/ 1263737 h 1495425"/>
                <a:gd name="connsiteX107" fmla="*/ 248593 w 1511300"/>
                <a:gd name="connsiteY107" fmla="*/ 1275137 h 1495425"/>
                <a:gd name="connsiteX108" fmla="*/ 248593 w 1511300"/>
                <a:gd name="connsiteY108" fmla="*/ 1284400 h 1495425"/>
                <a:gd name="connsiteX109" fmla="*/ 224920 w 1511300"/>
                <a:gd name="connsiteY109" fmla="*/ 1292950 h 1495425"/>
                <a:gd name="connsiteX110" fmla="*/ 224203 w 1511300"/>
                <a:gd name="connsiteY110" fmla="*/ 1295800 h 1495425"/>
                <a:gd name="connsiteX111" fmla="*/ 265092 w 1511300"/>
                <a:gd name="connsiteY111" fmla="*/ 1388425 h 1495425"/>
                <a:gd name="connsiteX112" fmla="*/ 227072 w 1511300"/>
                <a:gd name="connsiteY112" fmla="*/ 1388425 h 1495425"/>
                <a:gd name="connsiteX113" fmla="*/ 212725 w 1511300"/>
                <a:gd name="connsiteY113" fmla="*/ 1402675 h 1495425"/>
                <a:gd name="connsiteX114" fmla="*/ 227072 w 1511300"/>
                <a:gd name="connsiteY114" fmla="*/ 1417637 h 1495425"/>
                <a:gd name="connsiteX115" fmla="*/ 342565 w 1511300"/>
                <a:gd name="connsiteY115" fmla="*/ 1417637 h 1495425"/>
                <a:gd name="connsiteX116" fmla="*/ 358347 w 1511300"/>
                <a:gd name="connsiteY116" fmla="*/ 1417637 h 1495425"/>
                <a:gd name="connsiteX117" fmla="*/ 466666 w 1511300"/>
                <a:gd name="connsiteY117" fmla="*/ 1417637 h 1495425"/>
                <a:gd name="connsiteX118" fmla="*/ 481013 w 1511300"/>
                <a:gd name="connsiteY118" fmla="*/ 1402675 h 1495425"/>
                <a:gd name="connsiteX119" fmla="*/ 466666 w 1511300"/>
                <a:gd name="connsiteY119" fmla="*/ 1388425 h 1495425"/>
                <a:gd name="connsiteX120" fmla="*/ 427930 w 1511300"/>
                <a:gd name="connsiteY120" fmla="*/ 1388425 h 1495425"/>
                <a:gd name="connsiteX121" fmla="*/ 469536 w 1511300"/>
                <a:gd name="connsiteY121" fmla="*/ 1295800 h 1495425"/>
                <a:gd name="connsiteX122" fmla="*/ 468818 w 1511300"/>
                <a:gd name="connsiteY122" fmla="*/ 1292950 h 1495425"/>
                <a:gd name="connsiteX123" fmla="*/ 445146 w 1511300"/>
                <a:gd name="connsiteY123" fmla="*/ 1284400 h 1495425"/>
                <a:gd name="connsiteX124" fmla="*/ 445146 w 1511300"/>
                <a:gd name="connsiteY124" fmla="*/ 1223125 h 1495425"/>
                <a:gd name="connsiteX125" fmla="*/ 430799 w 1511300"/>
                <a:gd name="connsiteY125" fmla="*/ 1208875 h 1495425"/>
                <a:gd name="connsiteX126" fmla="*/ 390627 w 1511300"/>
                <a:gd name="connsiteY126" fmla="*/ 1208875 h 1495425"/>
                <a:gd name="connsiteX127" fmla="*/ 383454 w 1511300"/>
                <a:gd name="connsiteY127" fmla="*/ 1208875 h 1495425"/>
                <a:gd name="connsiteX128" fmla="*/ 376280 w 1511300"/>
                <a:gd name="connsiteY128" fmla="*/ 1208875 h 1495425"/>
                <a:gd name="connsiteX129" fmla="*/ 376280 w 1511300"/>
                <a:gd name="connsiteY129" fmla="*/ 1175388 h 1495425"/>
                <a:gd name="connsiteX130" fmla="*/ 376280 w 1511300"/>
                <a:gd name="connsiteY130" fmla="*/ 1161850 h 1495425"/>
                <a:gd name="connsiteX131" fmla="*/ 360499 w 1511300"/>
                <a:gd name="connsiteY131" fmla="*/ 1146175 h 1495425"/>
                <a:gd name="connsiteX132" fmla="*/ 358347 w 1511300"/>
                <a:gd name="connsiteY132" fmla="*/ 1146175 h 1495425"/>
                <a:gd name="connsiteX133" fmla="*/ 342565 w 1511300"/>
                <a:gd name="connsiteY133" fmla="*/ 1146175 h 1495425"/>
                <a:gd name="connsiteX134" fmla="*/ 333240 w 1511300"/>
                <a:gd name="connsiteY134" fmla="*/ 1146175 h 1495425"/>
                <a:gd name="connsiteX135" fmla="*/ 81065 w 1511300"/>
                <a:gd name="connsiteY135" fmla="*/ 719138 h 1495425"/>
                <a:gd name="connsiteX136" fmla="*/ 74612 w 1511300"/>
                <a:gd name="connsiteY136" fmla="*/ 724853 h 1495425"/>
                <a:gd name="connsiteX137" fmla="*/ 74612 w 1511300"/>
                <a:gd name="connsiteY137" fmla="*/ 799148 h 1495425"/>
                <a:gd name="connsiteX138" fmla="*/ 81065 w 1511300"/>
                <a:gd name="connsiteY138" fmla="*/ 804863 h 1495425"/>
                <a:gd name="connsiteX139" fmla="*/ 112610 w 1511300"/>
                <a:gd name="connsiteY139" fmla="*/ 804863 h 1495425"/>
                <a:gd name="connsiteX140" fmla="*/ 119062 w 1511300"/>
                <a:gd name="connsiteY140" fmla="*/ 799148 h 1495425"/>
                <a:gd name="connsiteX141" fmla="*/ 119062 w 1511300"/>
                <a:gd name="connsiteY141" fmla="*/ 724853 h 1495425"/>
                <a:gd name="connsiteX142" fmla="*/ 112610 w 1511300"/>
                <a:gd name="connsiteY142" fmla="*/ 719138 h 1495425"/>
                <a:gd name="connsiteX143" fmla="*/ 81065 w 1511300"/>
                <a:gd name="connsiteY143" fmla="*/ 719138 h 1495425"/>
                <a:gd name="connsiteX144" fmla="*/ 134209 w 1511300"/>
                <a:gd name="connsiteY144" fmla="*/ 684213 h 1495425"/>
                <a:gd name="connsiteX145" fmla="*/ 128587 w 1511300"/>
                <a:gd name="connsiteY145" fmla="*/ 689993 h 1495425"/>
                <a:gd name="connsiteX146" fmla="*/ 128587 w 1511300"/>
                <a:gd name="connsiteY146" fmla="*/ 799083 h 1495425"/>
                <a:gd name="connsiteX147" fmla="*/ 134209 w 1511300"/>
                <a:gd name="connsiteY147" fmla="*/ 804863 h 1495425"/>
                <a:gd name="connsiteX148" fmla="*/ 165829 w 1511300"/>
                <a:gd name="connsiteY148" fmla="*/ 804863 h 1495425"/>
                <a:gd name="connsiteX149" fmla="*/ 171450 w 1511300"/>
                <a:gd name="connsiteY149" fmla="*/ 799083 h 1495425"/>
                <a:gd name="connsiteX150" fmla="*/ 171450 w 1511300"/>
                <a:gd name="connsiteY150" fmla="*/ 689993 h 1495425"/>
                <a:gd name="connsiteX151" fmla="*/ 165829 w 1511300"/>
                <a:gd name="connsiteY151" fmla="*/ 684213 h 1495425"/>
                <a:gd name="connsiteX152" fmla="*/ 134209 w 1511300"/>
                <a:gd name="connsiteY152" fmla="*/ 684213 h 1495425"/>
                <a:gd name="connsiteX153" fmla="*/ 1281112 w 1511300"/>
                <a:gd name="connsiteY153" fmla="*/ 660400 h 1495425"/>
                <a:gd name="connsiteX154" fmla="*/ 1323975 w 1511300"/>
                <a:gd name="connsiteY154" fmla="*/ 736600 h 1495425"/>
                <a:gd name="connsiteX155" fmla="*/ 1309687 w 1511300"/>
                <a:gd name="connsiteY155" fmla="*/ 736600 h 1495425"/>
                <a:gd name="connsiteX156" fmla="*/ 1309687 w 1511300"/>
                <a:gd name="connsiteY156" fmla="*/ 739775 h 1495425"/>
                <a:gd name="connsiteX157" fmla="*/ 1309687 w 1511300"/>
                <a:gd name="connsiteY157" fmla="*/ 760413 h 1495425"/>
                <a:gd name="connsiteX158" fmla="*/ 1338262 w 1511300"/>
                <a:gd name="connsiteY158" fmla="*/ 760413 h 1495425"/>
                <a:gd name="connsiteX159" fmla="*/ 1339850 w 1511300"/>
                <a:gd name="connsiteY159" fmla="*/ 765175 h 1495425"/>
                <a:gd name="connsiteX160" fmla="*/ 1339850 w 1511300"/>
                <a:gd name="connsiteY160" fmla="*/ 771525 h 1495425"/>
                <a:gd name="connsiteX161" fmla="*/ 1339850 w 1511300"/>
                <a:gd name="connsiteY161" fmla="*/ 774700 h 1495425"/>
                <a:gd name="connsiteX162" fmla="*/ 1309687 w 1511300"/>
                <a:gd name="connsiteY162" fmla="*/ 774700 h 1495425"/>
                <a:gd name="connsiteX163" fmla="*/ 1309687 w 1511300"/>
                <a:gd name="connsiteY163" fmla="*/ 798513 h 1495425"/>
                <a:gd name="connsiteX164" fmla="*/ 1339850 w 1511300"/>
                <a:gd name="connsiteY164" fmla="*/ 798513 h 1495425"/>
                <a:gd name="connsiteX165" fmla="*/ 1339850 w 1511300"/>
                <a:gd name="connsiteY165" fmla="*/ 838200 h 1495425"/>
                <a:gd name="connsiteX166" fmla="*/ 1371600 w 1511300"/>
                <a:gd name="connsiteY166" fmla="*/ 838200 h 1495425"/>
                <a:gd name="connsiteX167" fmla="*/ 1371600 w 1511300"/>
                <a:gd name="connsiteY167" fmla="*/ 798513 h 1495425"/>
                <a:gd name="connsiteX168" fmla="*/ 1403350 w 1511300"/>
                <a:gd name="connsiteY168" fmla="*/ 798513 h 1495425"/>
                <a:gd name="connsiteX169" fmla="*/ 1403350 w 1511300"/>
                <a:gd name="connsiteY169" fmla="*/ 774700 h 1495425"/>
                <a:gd name="connsiteX170" fmla="*/ 1371600 w 1511300"/>
                <a:gd name="connsiteY170" fmla="*/ 774700 h 1495425"/>
                <a:gd name="connsiteX171" fmla="*/ 1371600 w 1511300"/>
                <a:gd name="connsiteY171" fmla="*/ 765175 h 1495425"/>
                <a:gd name="connsiteX172" fmla="*/ 1374775 w 1511300"/>
                <a:gd name="connsiteY172" fmla="*/ 760413 h 1495425"/>
                <a:gd name="connsiteX173" fmla="*/ 1403350 w 1511300"/>
                <a:gd name="connsiteY173" fmla="*/ 760413 h 1495425"/>
                <a:gd name="connsiteX174" fmla="*/ 1403350 w 1511300"/>
                <a:gd name="connsiteY174" fmla="*/ 736600 h 1495425"/>
                <a:gd name="connsiteX175" fmla="*/ 1387475 w 1511300"/>
                <a:gd name="connsiteY175" fmla="*/ 736600 h 1495425"/>
                <a:gd name="connsiteX176" fmla="*/ 1431925 w 1511300"/>
                <a:gd name="connsiteY176" fmla="*/ 660400 h 1495425"/>
                <a:gd name="connsiteX177" fmla="*/ 1398587 w 1511300"/>
                <a:gd name="connsiteY177" fmla="*/ 660400 h 1495425"/>
                <a:gd name="connsiteX178" fmla="*/ 1355725 w 1511300"/>
                <a:gd name="connsiteY178" fmla="*/ 736600 h 1495425"/>
                <a:gd name="connsiteX179" fmla="*/ 1314450 w 1511300"/>
                <a:gd name="connsiteY179" fmla="*/ 660400 h 1495425"/>
                <a:gd name="connsiteX180" fmla="*/ 188298 w 1511300"/>
                <a:gd name="connsiteY180" fmla="*/ 647700 h 1495425"/>
                <a:gd name="connsiteX181" fmla="*/ 182562 w 1511300"/>
                <a:gd name="connsiteY181" fmla="*/ 654129 h 1495425"/>
                <a:gd name="connsiteX182" fmla="*/ 182562 w 1511300"/>
                <a:gd name="connsiteY182" fmla="*/ 799147 h 1495425"/>
                <a:gd name="connsiteX183" fmla="*/ 188298 w 1511300"/>
                <a:gd name="connsiteY183" fmla="*/ 804862 h 1495425"/>
                <a:gd name="connsiteX184" fmla="*/ 220560 w 1511300"/>
                <a:gd name="connsiteY184" fmla="*/ 804862 h 1495425"/>
                <a:gd name="connsiteX185" fmla="*/ 227012 w 1511300"/>
                <a:gd name="connsiteY185" fmla="*/ 799147 h 1495425"/>
                <a:gd name="connsiteX186" fmla="*/ 227012 w 1511300"/>
                <a:gd name="connsiteY186" fmla="*/ 720566 h 1495425"/>
                <a:gd name="connsiteX187" fmla="*/ 227012 w 1511300"/>
                <a:gd name="connsiteY187" fmla="*/ 689134 h 1495425"/>
                <a:gd name="connsiteX188" fmla="*/ 227012 w 1511300"/>
                <a:gd name="connsiteY188" fmla="*/ 654129 h 1495425"/>
                <a:gd name="connsiteX189" fmla="*/ 220560 w 1511300"/>
                <a:gd name="connsiteY189" fmla="*/ 647700 h 1495425"/>
                <a:gd name="connsiteX190" fmla="*/ 188298 w 1511300"/>
                <a:gd name="connsiteY190" fmla="*/ 647700 h 1495425"/>
                <a:gd name="connsiteX191" fmla="*/ 242159 w 1511300"/>
                <a:gd name="connsiteY191" fmla="*/ 598488 h 1495425"/>
                <a:gd name="connsiteX192" fmla="*/ 236537 w 1511300"/>
                <a:gd name="connsiteY192" fmla="*/ 604937 h 1495425"/>
                <a:gd name="connsiteX193" fmla="*/ 236537 w 1511300"/>
                <a:gd name="connsiteY193" fmla="*/ 689494 h 1495425"/>
                <a:gd name="connsiteX194" fmla="*/ 236537 w 1511300"/>
                <a:gd name="connsiteY194" fmla="*/ 721023 h 1495425"/>
                <a:gd name="connsiteX195" fmla="*/ 236537 w 1511300"/>
                <a:gd name="connsiteY195" fmla="*/ 799130 h 1495425"/>
                <a:gd name="connsiteX196" fmla="*/ 242159 w 1511300"/>
                <a:gd name="connsiteY196" fmla="*/ 804863 h 1495425"/>
                <a:gd name="connsiteX197" fmla="*/ 273779 w 1511300"/>
                <a:gd name="connsiteY197" fmla="*/ 804863 h 1495425"/>
                <a:gd name="connsiteX198" fmla="*/ 279400 w 1511300"/>
                <a:gd name="connsiteY198" fmla="*/ 799130 h 1495425"/>
                <a:gd name="connsiteX199" fmla="*/ 279400 w 1511300"/>
                <a:gd name="connsiteY199" fmla="*/ 724606 h 1495425"/>
                <a:gd name="connsiteX200" fmla="*/ 279400 w 1511300"/>
                <a:gd name="connsiteY200" fmla="*/ 693077 h 1495425"/>
                <a:gd name="connsiteX201" fmla="*/ 279400 w 1511300"/>
                <a:gd name="connsiteY201" fmla="*/ 604937 h 1495425"/>
                <a:gd name="connsiteX202" fmla="*/ 273779 w 1511300"/>
                <a:gd name="connsiteY202" fmla="*/ 598488 h 1495425"/>
                <a:gd name="connsiteX203" fmla="*/ 242159 w 1511300"/>
                <a:gd name="connsiteY203" fmla="*/ 598488 h 1495425"/>
                <a:gd name="connsiteX204" fmla="*/ 765175 w 1511300"/>
                <a:gd name="connsiteY204" fmla="*/ 531813 h 1495425"/>
                <a:gd name="connsiteX205" fmla="*/ 687966 w 1511300"/>
                <a:gd name="connsiteY205" fmla="*/ 546111 h 1495425"/>
                <a:gd name="connsiteX206" fmla="*/ 659370 w 1511300"/>
                <a:gd name="connsiteY206" fmla="*/ 559694 h 1495425"/>
                <a:gd name="connsiteX207" fmla="*/ 552135 w 1511300"/>
                <a:gd name="connsiteY207" fmla="*/ 714828 h 1495425"/>
                <a:gd name="connsiteX208" fmla="*/ 549990 w 1511300"/>
                <a:gd name="connsiteY208" fmla="*/ 746283 h 1495425"/>
                <a:gd name="connsiteX209" fmla="*/ 549275 w 1511300"/>
                <a:gd name="connsiteY209" fmla="*/ 747713 h 1495425"/>
                <a:gd name="connsiteX210" fmla="*/ 622195 w 1511300"/>
                <a:gd name="connsiteY210" fmla="*/ 908566 h 1495425"/>
                <a:gd name="connsiteX211" fmla="*/ 646502 w 1511300"/>
                <a:gd name="connsiteY211" fmla="*/ 927868 h 1495425"/>
                <a:gd name="connsiteX212" fmla="*/ 765175 w 1511300"/>
                <a:gd name="connsiteY212" fmla="*/ 963613 h 1495425"/>
                <a:gd name="connsiteX213" fmla="*/ 879559 w 1511300"/>
                <a:gd name="connsiteY213" fmla="*/ 930728 h 1495425"/>
                <a:gd name="connsiteX214" fmla="*/ 905296 w 1511300"/>
                <a:gd name="connsiteY214" fmla="*/ 912140 h 1495425"/>
                <a:gd name="connsiteX215" fmla="*/ 980360 w 1511300"/>
                <a:gd name="connsiteY215" fmla="*/ 766301 h 1495425"/>
                <a:gd name="connsiteX216" fmla="*/ 981075 w 1511300"/>
                <a:gd name="connsiteY216" fmla="*/ 747713 h 1495425"/>
                <a:gd name="connsiteX217" fmla="*/ 981075 w 1511300"/>
                <a:gd name="connsiteY217" fmla="*/ 734845 h 1495425"/>
                <a:gd name="connsiteX218" fmla="*/ 916019 w 1511300"/>
                <a:gd name="connsiteY218" fmla="*/ 593295 h 1495425"/>
                <a:gd name="connsiteX219" fmla="*/ 891713 w 1511300"/>
                <a:gd name="connsiteY219" fmla="*/ 572562 h 1495425"/>
                <a:gd name="connsiteX220" fmla="*/ 765175 w 1511300"/>
                <a:gd name="connsiteY220" fmla="*/ 531813 h 1495425"/>
                <a:gd name="connsiteX221" fmla="*/ 1193721 w 1511300"/>
                <a:gd name="connsiteY221" fmla="*/ 107950 h 1495425"/>
                <a:gd name="connsiteX222" fmla="*/ 1107282 w 1511300"/>
                <a:gd name="connsiteY222" fmla="*/ 162772 h 1495425"/>
                <a:gd name="connsiteX223" fmla="*/ 1138000 w 1511300"/>
                <a:gd name="connsiteY223" fmla="*/ 271703 h 1495425"/>
                <a:gd name="connsiteX224" fmla="*/ 1138000 w 1511300"/>
                <a:gd name="connsiteY224" fmla="*/ 279535 h 1495425"/>
                <a:gd name="connsiteX225" fmla="*/ 1138000 w 1511300"/>
                <a:gd name="connsiteY225" fmla="*/ 323677 h 1495425"/>
                <a:gd name="connsiteX226" fmla="*/ 1138714 w 1511300"/>
                <a:gd name="connsiteY226" fmla="*/ 327237 h 1495425"/>
                <a:gd name="connsiteX227" fmla="*/ 1140857 w 1511300"/>
                <a:gd name="connsiteY227" fmla="*/ 328661 h 1495425"/>
                <a:gd name="connsiteX228" fmla="*/ 1223725 w 1511300"/>
                <a:gd name="connsiteY228" fmla="*/ 342900 h 1495425"/>
                <a:gd name="connsiteX229" fmla="*/ 1228726 w 1511300"/>
                <a:gd name="connsiteY229" fmla="*/ 337916 h 1495425"/>
                <a:gd name="connsiteX230" fmla="*/ 1228726 w 1511300"/>
                <a:gd name="connsiteY230" fmla="*/ 302318 h 1495425"/>
                <a:gd name="connsiteX231" fmla="*/ 1270874 w 1511300"/>
                <a:gd name="connsiteY231" fmla="*/ 299470 h 1495425"/>
                <a:gd name="connsiteX232" fmla="*/ 1278017 w 1511300"/>
                <a:gd name="connsiteY232" fmla="*/ 276687 h 1495425"/>
                <a:gd name="connsiteX233" fmla="*/ 1278017 w 1511300"/>
                <a:gd name="connsiteY233" fmla="*/ 275263 h 1495425"/>
                <a:gd name="connsiteX234" fmla="*/ 1276589 w 1511300"/>
                <a:gd name="connsiteY234" fmla="*/ 246784 h 1495425"/>
                <a:gd name="connsiteX235" fmla="*/ 1298020 w 1511300"/>
                <a:gd name="connsiteY235" fmla="*/ 235393 h 1495425"/>
                <a:gd name="connsiteX236" fmla="*/ 1288019 w 1511300"/>
                <a:gd name="connsiteY236" fmla="*/ 216881 h 1495425"/>
                <a:gd name="connsiteX237" fmla="*/ 1286590 w 1511300"/>
                <a:gd name="connsiteY237" fmla="*/ 214746 h 1495425"/>
                <a:gd name="connsiteX238" fmla="*/ 1277303 w 1511300"/>
                <a:gd name="connsiteY238" fmla="*/ 196946 h 1495425"/>
                <a:gd name="connsiteX239" fmla="*/ 1275160 w 1511300"/>
                <a:gd name="connsiteY239" fmla="*/ 188403 h 1495425"/>
                <a:gd name="connsiteX240" fmla="*/ 1272302 w 1511300"/>
                <a:gd name="connsiteY240" fmla="*/ 175587 h 1495425"/>
                <a:gd name="connsiteX241" fmla="*/ 1269445 w 1511300"/>
                <a:gd name="connsiteY241" fmla="*/ 151380 h 1495425"/>
                <a:gd name="connsiteX242" fmla="*/ 1271588 w 1511300"/>
                <a:gd name="connsiteY242" fmla="*/ 152092 h 1495425"/>
                <a:gd name="connsiteX243" fmla="*/ 1272302 w 1511300"/>
                <a:gd name="connsiteY243" fmla="*/ 151380 h 1495425"/>
                <a:gd name="connsiteX244" fmla="*/ 1286590 w 1511300"/>
                <a:gd name="connsiteY244" fmla="*/ 120766 h 1495425"/>
                <a:gd name="connsiteX245" fmla="*/ 1193721 w 1511300"/>
                <a:gd name="connsiteY245" fmla="*/ 107950 h 1495425"/>
                <a:gd name="connsiteX246" fmla="*/ 487804 w 1511300"/>
                <a:gd name="connsiteY246" fmla="*/ 53975 h 1495425"/>
                <a:gd name="connsiteX247" fmla="*/ 487804 w 1511300"/>
                <a:gd name="connsiteY247" fmla="*/ 79096 h 1495425"/>
                <a:gd name="connsiteX248" fmla="*/ 455739 w 1511300"/>
                <a:gd name="connsiteY248" fmla="*/ 99194 h 1495425"/>
                <a:gd name="connsiteX249" fmla="*/ 443625 w 1511300"/>
                <a:gd name="connsiteY249" fmla="*/ 133646 h 1495425"/>
                <a:gd name="connsiteX250" fmla="*/ 447900 w 1511300"/>
                <a:gd name="connsiteY250" fmla="*/ 157332 h 1495425"/>
                <a:gd name="connsiteX251" fmla="*/ 460727 w 1511300"/>
                <a:gd name="connsiteY251" fmla="*/ 175993 h 1495425"/>
                <a:gd name="connsiteX252" fmla="*/ 486379 w 1511300"/>
                <a:gd name="connsiteY252" fmla="*/ 192501 h 1495425"/>
                <a:gd name="connsiteX253" fmla="*/ 492080 w 1511300"/>
                <a:gd name="connsiteY253" fmla="*/ 195372 h 1495425"/>
                <a:gd name="connsiteX254" fmla="*/ 523433 w 1511300"/>
                <a:gd name="connsiteY254" fmla="*/ 217623 h 1495425"/>
                <a:gd name="connsiteX255" fmla="*/ 531984 w 1511300"/>
                <a:gd name="connsiteY255" fmla="*/ 238438 h 1495425"/>
                <a:gd name="connsiteX256" fmla="*/ 517733 w 1511300"/>
                <a:gd name="connsiteY256" fmla="*/ 258535 h 1495425"/>
                <a:gd name="connsiteX257" fmla="*/ 499206 w 1511300"/>
                <a:gd name="connsiteY257" fmla="*/ 260688 h 1495425"/>
                <a:gd name="connsiteX258" fmla="*/ 456451 w 1511300"/>
                <a:gd name="connsiteY258" fmla="*/ 245615 h 1495425"/>
                <a:gd name="connsiteX259" fmla="*/ 442912 w 1511300"/>
                <a:gd name="connsiteY259" fmla="*/ 279349 h 1495425"/>
                <a:gd name="connsiteX260" fmla="*/ 487804 w 1511300"/>
                <a:gd name="connsiteY260" fmla="*/ 293705 h 1495425"/>
                <a:gd name="connsiteX261" fmla="*/ 487804 w 1511300"/>
                <a:gd name="connsiteY261" fmla="*/ 323850 h 1495425"/>
                <a:gd name="connsiteX262" fmla="*/ 520583 w 1511300"/>
                <a:gd name="connsiteY262" fmla="*/ 323850 h 1495425"/>
                <a:gd name="connsiteX263" fmla="*/ 520583 w 1511300"/>
                <a:gd name="connsiteY263" fmla="*/ 290834 h 1495425"/>
                <a:gd name="connsiteX264" fmla="*/ 531271 w 1511300"/>
                <a:gd name="connsiteY264" fmla="*/ 287962 h 1495425"/>
                <a:gd name="connsiteX265" fmla="*/ 555499 w 1511300"/>
                <a:gd name="connsiteY265" fmla="*/ 270736 h 1495425"/>
                <a:gd name="connsiteX266" fmla="*/ 556924 w 1511300"/>
                <a:gd name="connsiteY266" fmla="*/ 269301 h 1495425"/>
                <a:gd name="connsiteX267" fmla="*/ 568325 w 1511300"/>
                <a:gd name="connsiteY267" fmla="*/ 235567 h 1495425"/>
                <a:gd name="connsiteX268" fmla="*/ 563337 w 1511300"/>
                <a:gd name="connsiteY268" fmla="*/ 210445 h 1495425"/>
                <a:gd name="connsiteX269" fmla="*/ 549798 w 1511300"/>
                <a:gd name="connsiteY269" fmla="*/ 189630 h 1495425"/>
                <a:gd name="connsiteX270" fmla="*/ 519870 w 1511300"/>
                <a:gd name="connsiteY270" fmla="*/ 170969 h 1495425"/>
                <a:gd name="connsiteX271" fmla="*/ 479966 w 1511300"/>
                <a:gd name="connsiteY271" fmla="*/ 133646 h 1495425"/>
                <a:gd name="connsiteX272" fmla="*/ 487092 w 1511300"/>
                <a:gd name="connsiteY272" fmla="*/ 116420 h 1495425"/>
                <a:gd name="connsiteX273" fmla="*/ 507044 w 1511300"/>
                <a:gd name="connsiteY273" fmla="*/ 109242 h 1495425"/>
                <a:gd name="connsiteX274" fmla="*/ 547661 w 1511300"/>
                <a:gd name="connsiteY274" fmla="*/ 122879 h 1495425"/>
                <a:gd name="connsiteX275" fmla="*/ 559062 w 1511300"/>
                <a:gd name="connsiteY275" fmla="*/ 90581 h 1495425"/>
                <a:gd name="connsiteX276" fmla="*/ 520583 w 1511300"/>
                <a:gd name="connsiteY276" fmla="*/ 77661 h 1495425"/>
                <a:gd name="connsiteX277" fmla="*/ 520583 w 1511300"/>
                <a:gd name="connsiteY277" fmla="*/ 53975 h 1495425"/>
                <a:gd name="connsiteX278" fmla="*/ 487804 w 1511300"/>
                <a:gd name="connsiteY278" fmla="*/ 53975 h 1495425"/>
                <a:gd name="connsiteX279" fmla="*/ 505435 w 1511300"/>
                <a:gd name="connsiteY279" fmla="*/ 0 h 1495425"/>
                <a:gd name="connsiteX280" fmla="*/ 694169 w 1511300"/>
                <a:gd name="connsiteY280" fmla="*/ 188715 h 1495425"/>
                <a:gd name="connsiteX281" fmla="*/ 596942 w 1511300"/>
                <a:gd name="connsiteY281" fmla="*/ 353841 h 1495425"/>
                <a:gd name="connsiteX282" fmla="*/ 674152 w 1511300"/>
                <a:gd name="connsiteY282" fmla="*/ 517537 h 1495425"/>
                <a:gd name="connsiteX283" fmla="*/ 764944 w 1511300"/>
                <a:gd name="connsiteY283" fmla="*/ 500381 h 1495425"/>
                <a:gd name="connsiteX284" fmla="*/ 912213 w 1511300"/>
                <a:gd name="connsiteY284" fmla="*/ 548990 h 1495425"/>
                <a:gd name="connsiteX285" fmla="*/ 1080930 w 1511300"/>
                <a:gd name="connsiteY285" fmla="*/ 348122 h 1495425"/>
                <a:gd name="connsiteX286" fmla="*/ 1029457 w 1511300"/>
                <a:gd name="connsiteY286" fmla="*/ 225172 h 1495425"/>
                <a:gd name="connsiteX287" fmla="*/ 1200318 w 1511300"/>
                <a:gd name="connsiteY287" fmla="*/ 54327 h 1495425"/>
                <a:gd name="connsiteX288" fmla="*/ 1371180 w 1511300"/>
                <a:gd name="connsiteY288" fmla="*/ 225172 h 1495425"/>
                <a:gd name="connsiteX289" fmla="*/ 1200318 w 1511300"/>
                <a:gd name="connsiteY289" fmla="*/ 396016 h 1495425"/>
                <a:gd name="connsiteX290" fmla="*/ 1105952 w 1511300"/>
                <a:gd name="connsiteY290" fmla="*/ 367423 h 1495425"/>
                <a:gd name="connsiteX291" fmla="*/ 935805 w 1511300"/>
                <a:gd name="connsiteY291" fmla="*/ 569005 h 1495425"/>
                <a:gd name="connsiteX292" fmla="*/ 1012300 w 1511300"/>
                <a:gd name="connsiteY292" fmla="*/ 734846 h 1495425"/>
                <a:gd name="connsiteX293" fmla="*/ 1201033 w 1511300"/>
                <a:gd name="connsiteY293" fmla="*/ 737705 h 1495425"/>
                <a:gd name="connsiteX294" fmla="*/ 1356166 w 1511300"/>
                <a:gd name="connsiteY294" fmla="*/ 585446 h 1495425"/>
                <a:gd name="connsiteX295" fmla="*/ 1511300 w 1511300"/>
                <a:gd name="connsiteY295" fmla="*/ 740564 h 1495425"/>
                <a:gd name="connsiteX296" fmla="*/ 1356166 w 1511300"/>
                <a:gd name="connsiteY296" fmla="*/ 895683 h 1495425"/>
                <a:gd name="connsiteX297" fmla="*/ 1203893 w 1511300"/>
                <a:gd name="connsiteY297" fmla="*/ 769158 h 1495425"/>
                <a:gd name="connsiteX298" fmla="*/ 1011585 w 1511300"/>
                <a:gd name="connsiteY298" fmla="*/ 766298 h 1495425"/>
                <a:gd name="connsiteX299" fmla="*/ 923652 w 1511300"/>
                <a:gd name="connsiteY299" fmla="*/ 937858 h 1495425"/>
                <a:gd name="connsiteX300" fmla="*/ 1036606 w 1511300"/>
                <a:gd name="connsiteY300" fmla="*/ 1092976 h 1495425"/>
                <a:gd name="connsiteX301" fmla="*/ 1150990 w 1511300"/>
                <a:gd name="connsiteY301" fmla="*/ 1060094 h 1495425"/>
                <a:gd name="connsiteX302" fmla="*/ 1368320 w 1511300"/>
                <a:gd name="connsiteY302" fmla="*/ 1277402 h 1495425"/>
                <a:gd name="connsiteX303" fmla="*/ 1150990 w 1511300"/>
                <a:gd name="connsiteY303" fmla="*/ 1494710 h 1495425"/>
                <a:gd name="connsiteX304" fmla="*/ 933660 w 1511300"/>
                <a:gd name="connsiteY304" fmla="*/ 1277402 h 1495425"/>
                <a:gd name="connsiteX305" fmla="*/ 1011585 w 1511300"/>
                <a:gd name="connsiteY305" fmla="*/ 1110846 h 1495425"/>
                <a:gd name="connsiteX306" fmla="*/ 897915 w 1511300"/>
                <a:gd name="connsiteY306" fmla="*/ 956443 h 1495425"/>
                <a:gd name="connsiteX307" fmla="*/ 764944 w 1511300"/>
                <a:gd name="connsiteY307" fmla="*/ 995044 h 1495425"/>
                <a:gd name="connsiteX308" fmla="*/ 626968 w 1511300"/>
                <a:gd name="connsiteY308" fmla="*/ 952869 h 1495425"/>
                <a:gd name="connsiteX309" fmla="*/ 481843 w 1511300"/>
                <a:gd name="connsiteY309" fmla="*/ 1142299 h 1495425"/>
                <a:gd name="connsiteX310" fmla="*/ 549044 w 1511300"/>
                <a:gd name="connsiteY310" fmla="*/ 1293128 h 1495425"/>
                <a:gd name="connsiteX311" fmla="*/ 346727 w 1511300"/>
                <a:gd name="connsiteY311" fmla="*/ 1495425 h 1495425"/>
                <a:gd name="connsiteX312" fmla="*/ 144410 w 1511300"/>
                <a:gd name="connsiteY312" fmla="*/ 1293128 h 1495425"/>
                <a:gd name="connsiteX313" fmla="*/ 346727 w 1511300"/>
                <a:gd name="connsiteY313" fmla="*/ 1090831 h 1495425"/>
                <a:gd name="connsiteX314" fmla="*/ 456822 w 1511300"/>
                <a:gd name="connsiteY314" fmla="*/ 1122999 h 1495425"/>
                <a:gd name="connsiteX315" fmla="*/ 602661 w 1511300"/>
                <a:gd name="connsiteY315" fmla="*/ 933569 h 1495425"/>
                <a:gd name="connsiteX316" fmla="*/ 517588 w 1511300"/>
                <a:gd name="connsiteY316" fmla="*/ 747713 h 1495425"/>
                <a:gd name="connsiteX317" fmla="*/ 518303 w 1511300"/>
                <a:gd name="connsiteY317" fmla="*/ 743424 h 1495425"/>
                <a:gd name="connsiteX318" fmla="*/ 369604 w 1511300"/>
                <a:gd name="connsiteY318" fmla="*/ 731272 h 1495425"/>
                <a:gd name="connsiteX319" fmla="*/ 185874 w 1511300"/>
                <a:gd name="connsiteY319" fmla="*/ 887819 h 1495425"/>
                <a:gd name="connsiteX320" fmla="*/ 0 w 1511300"/>
                <a:gd name="connsiteY320" fmla="*/ 701249 h 1495425"/>
                <a:gd name="connsiteX321" fmla="*/ 185874 w 1511300"/>
                <a:gd name="connsiteY321" fmla="*/ 515393 h 1495425"/>
                <a:gd name="connsiteX322" fmla="*/ 371749 w 1511300"/>
                <a:gd name="connsiteY322" fmla="*/ 700534 h 1495425"/>
                <a:gd name="connsiteX323" fmla="*/ 520448 w 1511300"/>
                <a:gd name="connsiteY323" fmla="*/ 711971 h 1495425"/>
                <a:gd name="connsiteX324" fmla="*/ 645556 w 1511300"/>
                <a:gd name="connsiteY324" fmla="*/ 531119 h 1495425"/>
                <a:gd name="connsiteX325" fmla="*/ 568346 w 1511300"/>
                <a:gd name="connsiteY325" fmla="*/ 366708 h 1495425"/>
                <a:gd name="connsiteX326" fmla="*/ 505435 w 1511300"/>
                <a:gd name="connsiteY326" fmla="*/ 377431 h 1495425"/>
                <a:gd name="connsiteX327" fmla="*/ 316701 w 1511300"/>
                <a:gd name="connsiteY327" fmla="*/ 188715 h 1495425"/>
                <a:gd name="connsiteX328" fmla="*/ 505435 w 1511300"/>
                <a:gd name="connsiteY328" fmla="*/ 0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1511300" h="1495425">
                  <a:moveTo>
                    <a:pt x="1091572" y="1350963"/>
                  </a:moveTo>
                  <a:cubicBezTo>
                    <a:pt x="1091572" y="1350963"/>
                    <a:pt x="1091572" y="1350963"/>
                    <a:pt x="1210303" y="1350963"/>
                  </a:cubicBezTo>
                  <a:cubicBezTo>
                    <a:pt x="1213880" y="1350963"/>
                    <a:pt x="1216025" y="1353741"/>
                    <a:pt x="1216025" y="1356519"/>
                  </a:cubicBezTo>
                  <a:cubicBezTo>
                    <a:pt x="1216025" y="1359992"/>
                    <a:pt x="1213880" y="1362075"/>
                    <a:pt x="1210303" y="1362075"/>
                  </a:cubicBezTo>
                  <a:cubicBezTo>
                    <a:pt x="1210303" y="1362075"/>
                    <a:pt x="1210303" y="1362075"/>
                    <a:pt x="1091572" y="1362075"/>
                  </a:cubicBezTo>
                  <a:cubicBezTo>
                    <a:pt x="1088711" y="1362075"/>
                    <a:pt x="1085850" y="1359992"/>
                    <a:pt x="1085850" y="1356519"/>
                  </a:cubicBezTo>
                  <a:cubicBezTo>
                    <a:pt x="1085850" y="1353741"/>
                    <a:pt x="1088711" y="1350963"/>
                    <a:pt x="1091572" y="1350963"/>
                  </a:cubicBezTo>
                  <a:close/>
                  <a:moveTo>
                    <a:pt x="344378" y="1285875"/>
                  </a:moveTo>
                  <a:cubicBezTo>
                    <a:pt x="344378" y="1285875"/>
                    <a:pt x="344378" y="1285875"/>
                    <a:pt x="348648" y="1285875"/>
                  </a:cubicBezTo>
                  <a:cubicBezTo>
                    <a:pt x="349359" y="1285875"/>
                    <a:pt x="350071" y="1285875"/>
                    <a:pt x="350783" y="1286597"/>
                  </a:cubicBezTo>
                  <a:cubicBezTo>
                    <a:pt x="350783" y="1286597"/>
                    <a:pt x="350783" y="1286597"/>
                    <a:pt x="372844" y="1296699"/>
                  </a:cubicBezTo>
                  <a:lnTo>
                    <a:pt x="382807" y="1301750"/>
                  </a:lnTo>
                  <a:cubicBezTo>
                    <a:pt x="382807" y="1301750"/>
                    <a:pt x="382807" y="1301750"/>
                    <a:pt x="413407" y="1316182"/>
                  </a:cubicBezTo>
                  <a:cubicBezTo>
                    <a:pt x="416965" y="1318347"/>
                    <a:pt x="419100" y="1323398"/>
                    <a:pt x="417677" y="1327727"/>
                  </a:cubicBezTo>
                  <a:cubicBezTo>
                    <a:pt x="416254" y="1331335"/>
                    <a:pt x="413407" y="1333500"/>
                    <a:pt x="410561" y="1333500"/>
                  </a:cubicBezTo>
                  <a:cubicBezTo>
                    <a:pt x="409137" y="1333500"/>
                    <a:pt x="408426" y="1332779"/>
                    <a:pt x="407002" y="1332779"/>
                  </a:cubicBezTo>
                  <a:cubicBezTo>
                    <a:pt x="407002" y="1332779"/>
                    <a:pt x="407002" y="1332779"/>
                    <a:pt x="383518" y="1321233"/>
                  </a:cubicBezTo>
                  <a:cubicBezTo>
                    <a:pt x="383518" y="1321233"/>
                    <a:pt x="383518" y="1321233"/>
                    <a:pt x="373555" y="1316182"/>
                  </a:cubicBezTo>
                  <a:cubicBezTo>
                    <a:pt x="373555" y="1316182"/>
                    <a:pt x="373555" y="1316182"/>
                    <a:pt x="349359" y="1304636"/>
                  </a:cubicBezTo>
                  <a:cubicBezTo>
                    <a:pt x="349359" y="1304636"/>
                    <a:pt x="349359" y="1304636"/>
                    <a:pt x="346513" y="1303193"/>
                  </a:cubicBezTo>
                  <a:cubicBezTo>
                    <a:pt x="346513" y="1303193"/>
                    <a:pt x="346513" y="1303193"/>
                    <a:pt x="286023" y="1332779"/>
                  </a:cubicBezTo>
                  <a:cubicBezTo>
                    <a:pt x="284600" y="1332779"/>
                    <a:pt x="283889" y="1333500"/>
                    <a:pt x="282465" y="1333500"/>
                  </a:cubicBezTo>
                  <a:cubicBezTo>
                    <a:pt x="279619" y="1333500"/>
                    <a:pt x="276772" y="1331335"/>
                    <a:pt x="275349" y="1327727"/>
                  </a:cubicBezTo>
                  <a:cubicBezTo>
                    <a:pt x="274637" y="1325563"/>
                    <a:pt x="274637" y="1323398"/>
                    <a:pt x="275349" y="1321233"/>
                  </a:cubicBezTo>
                  <a:cubicBezTo>
                    <a:pt x="276061" y="1319068"/>
                    <a:pt x="277484" y="1316904"/>
                    <a:pt x="279619" y="1316182"/>
                  </a:cubicBezTo>
                  <a:cubicBezTo>
                    <a:pt x="279619" y="1316182"/>
                    <a:pt x="279619" y="1316182"/>
                    <a:pt x="342243" y="1286597"/>
                  </a:cubicBezTo>
                  <a:cubicBezTo>
                    <a:pt x="342955" y="1285875"/>
                    <a:pt x="343666" y="1285875"/>
                    <a:pt x="344378" y="1285875"/>
                  </a:cubicBezTo>
                  <a:close/>
                  <a:moveTo>
                    <a:pt x="1185465" y="1253126"/>
                  </a:moveTo>
                  <a:cubicBezTo>
                    <a:pt x="1187608" y="1250950"/>
                    <a:pt x="1191895" y="1250950"/>
                    <a:pt x="1194038" y="1253126"/>
                  </a:cubicBezTo>
                  <a:cubicBezTo>
                    <a:pt x="1201896" y="1261104"/>
                    <a:pt x="1209040" y="1268358"/>
                    <a:pt x="1216183" y="1275611"/>
                  </a:cubicBezTo>
                  <a:cubicBezTo>
                    <a:pt x="1216898" y="1277061"/>
                    <a:pt x="1217612" y="1278512"/>
                    <a:pt x="1217612" y="1279963"/>
                  </a:cubicBezTo>
                  <a:cubicBezTo>
                    <a:pt x="1217612" y="1281413"/>
                    <a:pt x="1216898" y="1283589"/>
                    <a:pt x="1216183" y="1284315"/>
                  </a:cubicBezTo>
                  <a:cubicBezTo>
                    <a:pt x="1213326" y="1287216"/>
                    <a:pt x="1209754" y="1286491"/>
                    <a:pt x="1206897" y="1284315"/>
                  </a:cubicBezTo>
                  <a:cubicBezTo>
                    <a:pt x="1204753" y="1282139"/>
                    <a:pt x="1202610" y="1279237"/>
                    <a:pt x="1199753" y="1277061"/>
                  </a:cubicBezTo>
                  <a:cubicBezTo>
                    <a:pt x="1199753" y="1277061"/>
                    <a:pt x="1199753" y="1277061"/>
                    <a:pt x="1196181" y="1273435"/>
                  </a:cubicBezTo>
                  <a:lnTo>
                    <a:pt x="1196181" y="1274885"/>
                  </a:lnTo>
                  <a:cubicBezTo>
                    <a:pt x="1196181" y="1288667"/>
                    <a:pt x="1196181" y="1311877"/>
                    <a:pt x="1196181" y="1324933"/>
                  </a:cubicBezTo>
                  <a:cubicBezTo>
                    <a:pt x="1196181" y="1324933"/>
                    <a:pt x="1196181" y="1324933"/>
                    <a:pt x="1196181" y="1328559"/>
                  </a:cubicBezTo>
                  <a:cubicBezTo>
                    <a:pt x="1196181" y="1332186"/>
                    <a:pt x="1193323" y="1335087"/>
                    <a:pt x="1189752" y="1335087"/>
                  </a:cubicBezTo>
                  <a:cubicBezTo>
                    <a:pt x="1186180" y="1335087"/>
                    <a:pt x="1183322" y="1332186"/>
                    <a:pt x="1183322" y="1328559"/>
                  </a:cubicBezTo>
                  <a:cubicBezTo>
                    <a:pt x="1183322" y="1328559"/>
                    <a:pt x="1183322" y="1328559"/>
                    <a:pt x="1183322" y="1272709"/>
                  </a:cubicBezTo>
                  <a:cubicBezTo>
                    <a:pt x="1183322" y="1272709"/>
                    <a:pt x="1183322" y="1272709"/>
                    <a:pt x="1174750" y="1281413"/>
                  </a:cubicBezTo>
                  <a:cubicBezTo>
                    <a:pt x="1174035" y="1282139"/>
                    <a:pt x="1173321" y="1283589"/>
                    <a:pt x="1172607" y="1284315"/>
                  </a:cubicBezTo>
                  <a:cubicBezTo>
                    <a:pt x="1169749" y="1287216"/>
                    <a:pt x="1166177" y="1287216"/>
                    <a:pt x="1163320" y="1284315"/>
                  </a:cubicBezTo>
                  <a:cubicBezTo>
                    <a:pt x="1160462" y="1282139"/>
                    <a:pt x="1160462" y="1277787"/>
                    <a:pt x="1163320" y="1275611"/>
                  </a:cubicBezTo>
                  <a:cubicBezTo>
                    <a:pt x="1167606" y="1270533"/>
                    <a:pt x="1171892" y="1266182"/>
                    <a:pt x="1176178" y="1261830"/>
                  </a:cubicBezTo>
                  <a:cubicBezTo>
                    <a:pt x="1176178" y="1261830"/>
                    <a:pt x="1176178" y="1261830"/>
                    <a:pt x="1182608" y="1256027"/>
                  </a:cubicBezTo>
                  <a:cubicBezTo>
                    <a:pt x="1183322" y="1255302"/>
                    <a:pt x="1184037" y="1253851"/>
                    <a:pt x="1185465" y="1253126"/>
                  </a:cubicBezTo>
                  <a:close/>
                  <a:moveTo>
                    <a:pt x="1114266" y="1251675"/>
                  </a:moveTo>
                  <a:cubicBezTo>
                    <a:pt x="1115695" y="1251675"/>
                    <a:pt x="1116409" y="1252401"/>
                    <a:pt x="1117838" y="1253126"/>
                  </a:cubicBezTo>
                  <a:cubicBezTo>
                    <a:pt x="1124982" y="1261104"/>
                    <a:pt x="1132125" y="1268358"/>
                    <a:pt x="1139269" y="1275611"/>
                  </a:cubicBezTo>
                  <a:cubicBezTo>
                    <a:pt x="1140698" y="1277061"/>
                    <a:pt x="1141412" y="1278512"/>
                    <a:pt x="1141412" y="1279963"/>
                  </a:cubicBezTo>
                  <a:cubicBezTo>
                    <a:pt x="1141412" y="1280688"/>
                    <a:pt x="1140698" y="1282139"/>
                    <a:pt x="1140698" y="1282864"/>
                  </a:cubicBezTo>
                  <a:cubicBezTo>
                    <a:pt x="1139983" y="1283589"/>
                    <a:pt x="1139983" y="1284315"/>
                    <a:pt x="1139269" y="1284315"/>
                  </a:cubicBezTo>
                  <a:cubicBezTo>
                    <a:pt x="1137126" y="1287216"/>
                    <a:pt x="1132840" y="1286491"/>
                    <a:pt x="1130697" y="1284315"/>
                  </a:cubicBezTo>
                  <a:cubicBezTo>
                    <a:pt x="1127839" y="1282139"/>
                    <a:pt x="1125696" y="1279237"/>
                    <a:pt x="1123553" y="1277061"/>
                  </a:cubicBezTo>
                  <a:cubicBezTo>
                    <a:pt x="1123553" y="1277061"/>
                    <a:pt x="1123553" y="1277061"/>
                    <a:pt x="1119981" y="1273435"/>
                  </a:cubicBezTo>
                  <a:cubicBezTo>
                    <a:pt x="1119267" y="1273435"/>
                    <a:pt x="1119267" y="1273435"/>
                    <a:pt x="1119267" y="1272709"/>
                  </a:cubicBezTo>
                  <a:cubicBezTo>
                    <a:pt x="1119267" y="1272709"/>
                    <a:pt x="1119267" y="1272709"/>
                    <a:pt x="1119267" y="1274885"/>
                  </a:cubicBezTo>
                  <a:cubicBezTo>
                    <a:pt x="1119267" y="1288667"/>
                    <a:pt x="1119267" y="1311877"/>
                    <a:pt x="1119267" y="1324933"/>
                  </a:cubicBezTo>
                  <a:cubicBezTo>
                    <a:pt x="1119267" y="1324933"/>
                    <a:pt x="1119267" y="1324933"/>
                    <a:pt x="1119267" y="1328559"/>
                  </a:cubicBezTo>
                  <a:cubicBezTo>
                    <a:pt x="1119267" y="1332186"/>
                    <a:pt x="1116409" y="1335087"/>
                    <a:pt x="1112837" y="1335087"/>
                  </a:cubicBezTo>
                  <a:cubicBezTo>
                    <a:pt x="1109980" y="1335087"/>
                    <a:pt x="1107122" y="1332186"/>
                    <a:pt x="1107122" y="1328559"/>
                  </a:cubicBezTo>
                  <a:cubicBezTo>
                    <a:pt x="1107122" y="1328559"/>
                    <a:pt x="1107122" y="1328559"/>
                    <a:pt x="1107122" y="1272709"/>
                  </a:cubicBezTo>
                  <a:cubicBezTo>
                    <a:pt x="1107122" y="1272709"/>
                    <a:pt x="1107122" y="1272709"/>
                    <a:pt x="1098550" y="1281413"/>
                  </a:cubicBezTo>
                  <a:cubicBezTo>
                    <a:pt x="1097835" y="1282139"/>
                    <a:pt x="1096407" y="1283589"/>
                    <a:pt x="1095692" y="1284315"/>
                  </a:cubicBezTo>
                  <a:cubicBezTo>
                    <a:pt x="1092835" y="1287216"/>
                    <a:pt x="1089263" y="1287216"/>
                    <a:pt x="1087120" y="1284315"/>
                  </a:cubicBezTo>
                  <a:cubicBezTo>
                    <a:pt x="1084262" y="1282139"/>
                    <a:pt x="1084262" y="1277787"/>
                    <a:pt x="1087120" y="1275611"/>
                  </a:cubicBezTo>
                  <a:cubicBezTo>
                    <a:pt x="1091406" y="1270533"/>
                    <a:pt x="1095692" y="1266182"/>
                    <a:pt x="1099978" y="1261830"/>
                  </a:cubicBezTo>
                  <a:cubicBezTo>
                    <a:pt x="1099978" y="1261830"/>
                    <a:pt x="1099978" y="1261830"/>
                    <a:pt x="1105693" y="1256027"/>
                  </a:cubicBezTo>
                  <a:cubicBezTo>
                    <a:pt x="1107122" y="1255302"/>
                    <a:pt x="1107837" y="1253851"/>
                    <a:pt x="1108551" y="1253126"/>
                  </a:cubicBezTo>
                  <a:cubicBezTo>
                    <a:pt x="1109980" y="1251675"/>
                    <a:pt x="1112123" y="1250950"/>
                    <a:pt x="1114266" y="1251675"/>
                  </a:cubicBezTo>
                  <a:close/>
                  <a:moveTo>
                    <a:pt x="1119187" y="1173163"/>
                  </a:moveTo>
                  <a:cubicBezTo>
                    <a:pt x="1119187" y="1184093"/>
                    <a:pt x="1119187" y="1195024"/>
                    <a:pt x="1119187" y="1205225"/>
                  </a:cubicBezTo>
                  <a:cubicBezTo>
                    <a:pt x="1119187" y="1209598"/>
                    <a:pt x="1119187" y="1213241"/>
                    <a:pt x="1119187" y="1217613"/>
                  </a:cubicBezTo>
                  <a:cubicBezTo>
                    <a:pt x="1122017" y="1217613"/>
                    <a:pt x="1124847" y="1217613"/>
                    <a:pt x="1128384" y="1217613"/>
                  </a:cubicBezTo>
                  <a:cubicBezTo>
                    <a:pt x="1146779" y="1217613"/>
                    <a:pt x="1165173" y="1217613"/>
                    <a:pt x="1184275" y="1217613"/>
                  </a:cubicBezTo>
                  <a:cubicBezTo>
                    <a:pt x="1184275" y="1203039"/>
                    <a:pt x="1184275" y="1188466"/>
                    <a:pt x="1184275" y="1173163"/>
                  </a:cubicBezTo>
                  <a:cubicBezTo>
                    <a:pt x="1162343" y="1173163"/>
                    <a:pt x="1141119" y="1173163"/>
                    <a:pt x="1119187" y="1173163"/>
                  </a:cubicBezTo>
                  <a:close/>
                  <a:moveTo>
                    <a:pt x="1014648" y="1173163"/>
                  </a:moveTo>
                  <a:cubicBezTo>
                    <a:pt x="1011792" y="1173163"/>
                    <a:pt x="1009650" y="1176022"/>
                    <a:pt x="1009650" y="1178880"/>
                  </a:cubicBezTo>
                  <a:cubicBezTo>
                    <a:pt x="1009650" y="1206036"/>
                    <a:pt x="1009650" y="1333955"/>
                    <a:pt x="1009650" y="1390411"/>
                  </a:cubicBezTo>
                  <a:cubicBezTo>
                    <a:pt x="1009650" y="1393269"/>
                    <a:pt x="1011792" y="1395413"/>
                    <a:pt x="1014648" y="1395413"/>
                  </a:cubicBezTo>
                  <a:cubicBezTo>
                    <a:pt x="1106037" y="1395413"/>
                    <a:pt x="1197426" y="1395413"/>
                    <a:pt x="1288815" y="1395413"/>
                  </a:cubicBezTo>
                  <a:cubicBezTo>
                    <a:pt x="1291671" y="1395413"/>
                    <a:pt x="1293813" y="1393269"/>
                    <a:pt x="1293813" y="1390411"/>
                  </a:cubicBezTo>
                  <a:cubicBezTo>
                    <a:pt x="1293813" y="1387552"/>
                    <a:pt x="1293813" y="1384694"/>
                    <a:pt x="1293813" y="1381121"/>
                  </a:cubicBezTo>
                  <a:cubicBezTo>
                    <a:pt x="1293813" y="1381121"/>
                    <a:pt x="1293813" y="1381121"/>
                    <a:pt x="1293813" y="1343960"/>
                  </a:cubicBezTo>
                  <a:cubicBezTo>
                    <a:pt x="1293813" y="1339672"/>
                    <a:pt x="1293813" y="1335384"/>
                    <a:pt x="1293813" y="1331096"/>
                  </a:cubicBezTo>
                  <a:cubicBezTo>
                    <a:pt x="1293813" y="1286075"/>
                    <a:pt x="1293813" y="1200319"/>
                    <a:pt x="1293813" y="1178880"/>
                  </a:cubicBezTo>
                  <a:cubicBezTo>
                    <a:pt x="1293813" y="1175307"/>
                    <a:pt x="1291671" y="1173163"/>
                    <a:pt x="1288815" y="1173163"/>
                  </a:cubicBezTo>
                  <a:cubicBezTo>
                    <a:pt x="1288815" y="1173163"/>
                    <a:pt x="1288815" y="1173163"/>
                    <a:pt x="1195998" y="1173163"/>
                  </a:cubicBezTo>
                  <a:cubicBezTo>
                    <a:pt x="1195998" y="1173163"/>
                    <a:pt x="1195998" y="1173163"/>
                    <a:pt x="1195998" y="1216756"/>
                  </a:cubicBezTo>
                  <a:cubicBezTo>
                    <a:pt x="1195998" y="1223187"/>
                    <a:pt x="1191000" y="1228190"/>
                    <a:pt x="1184575" y="1228190"/>
                  </a:cubicBezTo>
                  <a:cubicBezTo>
                    <a:pt x="1184575" y="1228190"/>
                    <a:pt x="1184575" y="1228190"/>
                    <a:pt x="1136024" y="1228190"/>
                  </a:cubicBezTo>
                  <a:cubicBezTo>
                    <a:pt x="1136024" y="1228190"/>
                    <a:pt x="1136024" y="1228190"/>
                    <a:pt x="1118889" y="1228190"/>
                  </a:cubicBezTo>
                  <a:cubicBezTo>
                    <a:pt x="1112463" y="1228190"/>
                    <a:pt x="1107465" y="1223187"/>
                    <a:pt x="1107465" y="1216756"/>
                  </a:cubicBezTo>
                  <a:cubicBezTo>
                    <a:pt x="1107465" y="1216756"/>
                    <a:pt x="1107465" y="1216756"/>
                    <a:pt x="1107465" y="1188885"/>
                  </a:cubicBezTo>
                  <a:cubicBezTo>
                    <a:pt x="1107465" y="1188885"/>
                    <a:pt x="1107465" y="1188885"/>
                    <a:pt x="1107465" y="1173163"/>
                  </a:cubicBezTo>
                  <a:lnTo>
                    <a:pt x="1096042" y="1173163"/>
                  </a:lnTo>
                  <a:cubicBezTo>
                    <a:pt x="1096042" y="1173163"/>
                    <a:pt x="1096042" y="1173163"/>
                    <a:pt x="1057487" y="1173163"/>
                  </a:cubicBezTo>
                  <a:cubicBezTo>
                    <a:pt x="1057487" y="1173163"/>
                    <a:pt x="1057487" y="1173163"/>
                    <a:pt x="1014648" y="1173163"/>
                  </a:cubicBezTo>
                  <a:close/>
                  <a:moveTo>
                    <a:pt x="333240" y="1146175"/>
                  </a:moveTo>
                  <a:cubicBezTo>
                    <a:pt x="324631" y="1146175"/>
                    <a:pt x="317458" y="1153300"/>
                    <a:pt x="317458" y="1161850"/>
                  </a:cubicBezTo>
                  <a:cubicBezTo>
                    <a:pt x="317458" y="1208875"/>
                    <a:pt x="317458" y="1208875"/>
                    <a:pt x="317458" y="1208875"/>
                  </a:cubicBezTo>
                  <a:cubicBezTo>
                    <a:pt x="262940" y="1208875"/>
                    <a:pt x="262940" y="1208875"/>
                    <a:pt x="262940" y="1208875"/>
                  </a:cubicBezTo>
                  <a:cubicBezTo>
                    <a:pt x="255049" y="1208875"/>
                    <a:pt x="248593" y="1215288"/>
                    <a:pt x="248593" y="1223125"/>
                  </a:cubicBezTo>
                  <a:cubicBezTo>
                    <a:pt x="248593" y="1263737"/>
                    <a:pt x="248593" y="1263737"/>
                    <a:pt x="248593" y="1263737"/>
                  </a:cubicBezTo>
                  <a:cubicBezTo>
                    <a:pt x="248593" y="1275137"/>
                    <a:pt x="248593" y="1275137"/>
                    <a:pt x="248593" y="1275137"/>
                  </a:cubicBezTo>
                  <a:cubicBezTo>
                    <a:pt x="248593" y="1284400"/>
                    <a:pt x="248593" y="1284400"/>
                    <a:pt x="248593" y="1284400"/>
                  </a:cubicBezTo>
                  <a:cubicBezTo>
                    <a:pt x="224920" y="1292950"/>
                    <a:pt x="224920" y="1292950"/>
                    <a:pt x="224920" y="1292950"/>
                  </a:cubicBezTo>
                  <a:cubicBezTo>
                    <a:pt x="224203" y="1295800"/>
                    <a:pt x="224203" y="1295800"/>
                    <a:pt x="224203" y="1295800"/>
                  </a:cubicBezTo>
                  <a:cubicBezTo>
                    <a:pt x="224203" y="1297937"/>
                    <a:pt x="218464" y="1337837"/>
                    <a:pt x="265092" y="1388425"/>
                  </a:cubicBezTo>
                  <a:cubicBezTo>
                    <a:pt x="227072" y="1388425"/>
                    <a:pt x="227072" y="1388425"/>
                    <a:pt x="227072" y="1388425"/>
                  </a:cubicBezTo>
                  <a:cubicBezTo>
                    <a:pt x="219181" y="1388425"/>
                    <a:pt x="212725" y="1394837"/>
                    <a:pt x="212725" y="1402675"/>
                  </a:cubicBezTo>
                  <a:cubicBezTo>
                    <a:pt x="212725" y="1410512"/>
                    <a:pt x="219181" y="1417637"/>
                    <a:pt x="227072" y="1417637"/>
                  </a:cubicBezTo>
                  <a:cubicBezTo>
                    <a:pt x="342565" y="1417637"/>
                    <a:pt x="342565" y="1417637"/>
                    <a:pt x="342565" y="1417637"/>
                  </a:cubicBezTo>
                  <a:cubicBezTo>
                    <a:pt x="358347" y="1417637"/>
                    <a:pt x="358347" y="1417637"/>
                    <a:pt x="358347" y="1417637"/>
                  </a:cubicBezTo>
                  <a:cubicBezTo>
                    <a:pt x="466666" y="1417637"/>
                    <a:pt x="466666" y="1417637"/>
                    <a:pt x="466666" y="1417637"/>
                  </a:cubicBezTo>
                  <a:cubicBezTo>
                    <a:pt x="474557" y="1417637"/>
                    <a:pt x="481013" y="1410512"/>
                    <a:pt x="481013" y="1402675"/>
                  </a:cubicBezTo>
                  <a:cubicBezTo>
                    <a:pt x="481013" y="1394837"/>
                    <a:pt x="474557" y="1388425"/>
                    <a:pt x="466666" y="1388425"/>
                  </a:cubicBezTo>
                  <a:cubicBezTo>
                    <a:pt x="427930" y="1388425"/>
                    <a:pt x="427930" y="1388425"/>
                    <a:pt x="427930" y="1388425"/>
                  </a:cubicBezTo>
                  <a:cubicBezTo>
                    <a:pt x="475274" y="1337837"/>
                    <a:pt x="469536" y="1297937"/>
                    <a:pt x="469536" y="1295800"/>
                  </a:cubicBezTo>
                  <a:cubicBezTo>
                    <a:pt x="468818" y="1292950"/>
                    <a:pt x="468818" y="1292950"/>
                    <a:pt x="468818" y="1292950"/>
                  </a:cubicBezTo>
                  <a:cubicBezTo>
                    <a:pt x="445146" y="1284400"/>
                    <a:pt x="445146" y="1284400"/>
                    <a:pt x="445146" y="1284400"/>
                  </a:cubicBezTo>
                  <a:cubicBezTo>
                    <a:pt x="445146" y="1223125"/>
                    <a:pt x="445146" y="1223125"/>
                    <a:pt x="445146" y="1223125"/>
                  </a:cubicBezTo>
                  <a:cubicBezTo>
                    <a:pt x="445146" y="1215288"/>
                    <a:pt x="438690" y="1208875"/>
                    <a:pt x="430799" y="1208875"/>
                  </a:cubicBezTo>
                  <a:cubicBezTo>
                    <a:pt x="408561" y="1208875"/>
                    <a:pt x="397084" y="1208875"/>
                    <a:pt x="390627" y="1208875"/>
                  </a:cubicBezTo>
                  <a:cubicBezTo>
                    <a:pt x="383454" y="1208875"/>
                    <a:pt x="383454" y="1208875"/>
                    <a:pt x="383454" y="1208875"/>
                  </a:cubicBezTo>
                  <a:cubicBezTo>
                    <a:pt x="376280" y="1208875"/>
                    <a:pt x="376280" y="1208875"/>
                    <a:pt x="376280" y="1208875"/>
                  </a:cubicBezTo>
                  <a:cubicBezTo>
                    <a:pt x="376280" y="1175388"/>
                    <a:pt x="376280" y="1175388"/>
                    <a:pt x="376280" y="1175388"/>
                  </a:cubicBezTo>
                  <a:cubicBezTo>
                    <a:pt x="376280" y="1161850"/>
                    <a:pt x="376280" y="1161850"/>
                    <a:pt x="376280" y="1161850"/>
                  </a:cubicBezTo>
                  <a:cubicBezTo>
                    <a:pt x="376280" y="1153300"/>
                    <a:pt x="369107" y="1146175"/>
                    <a:pt x="360499" y="1146175"/>
                  </a:cubicBezTo>
                  <a:cubicBezTo>
                    <a:pt x="358347" y="1146175"/>
                    <a:pt x="358347" y="1146175"/>
                    <a:pt x="358347" y="1146175"/>
                  </a:cubicBezTo>
                  <a:cubicBezTo>
                    <a:pt x="342565" y="1146175"/>
                    <a:pt x="342565" y="1146175"/>
                    <a:pt x="342565" y="1146175"/>
                  </a:cubicBezTo>
                  <a:cubicBezTo>
                    <a:pt x="333240" y="1146175"/>
                    <a:pt x="333240" y="1146175"/>
                    <a:pt x="333240" y="1146175"/>
                  </a:cubicBezTo>
                  <a:close/>
                  <a:moveTo>
                    <a:pt x="81065" y="719138"/>
                  </a:moveTo>
                  <a:cubicBezTo>
                    <a:pt x="77480" y="719138"/>
                    <a:pt x="74612" y="721996"/>
                    <a:pt x="74612" y="724853"/>
                  </a:cubicBezTo>
                  <a:cubicBezTo>
                    <a:pt x="74612" y="724853"/>
                    <a:pt x="74612" y="724853"/>
                    <a:pt x="74612" y="799148"/>
                  </a:cubicBezTo>
                  <a:cubicBezTo>
                    <a:pt x="74612" y="802720"/>
                    <a:pt x="77480" y="804863"/>
                    <a:pt x="81065" y="804863"/>
                  </a:cubicBezTo>
                  <a:cubicBezTo>
                    <a:pt x="81065" y="804863"/>
                    <a:pt x="81065" y="804863"/>
                    <a:pt x="112610" y="804863"/>
                  </a:cubicBezTo>
                  <a:cubicBezTo>
                    <a:pt x="116195" y="804863"/>
                    <a:pt x="119062" y="802720"/>
                    <a:pt x="119062" y="799148"/>
                  </a:cubicBezTo>
                  <a:cubicBezTo>
                    <a:pt x="119062" y="799148"/>
                    <a:pt x="119062" y="799148"/>
                    <a:pt x="119062" y="724853"/>
                  </a:cubicBezTo>
                  <a:cubicBezTo>
                    <a:pt x="119062" y="721996"/>
                    <a:pt x="116195" y="719138"/>
                    <a:pt x="112610" y="719138"/>
                  </a:cubicBezTo>
                  <a:cubicBezTo>
                    <a:pt x="112610" y="719138"/>
                    <a:pt x="112610" y="719138"/>
                    <a:pt x="81065" y="719138"/>
                  </a:cubicBezTo>
                  <a:close/>
                  <a:moveTo>
                    <a:pt x="134209" y="684213"/>
                  </a:moveTo>
                  <a:cubicBezTo>
                    <a:pt x="130695" y="684213"/>
                    <a:pt x="128587" y="687103"/>
                    <a:pt x="128587" y="689993"/>
                  </a:cubicBezTo>
                  <a:cubicBezTo>
                    <a:pt x="128587" y="799083"/>
                    <a:pt x="128587" y="799083"/>
                    <a:pt x="128587" y="799083"/>
                  </a:cubicBezTo>
                  <a:cubicBezTo>
                    <a:pt x="128587" y="802696"/>
                    <a:pt x="130695" y="804863"/>
                    <a:pt x="134209" y="804863"/>
                  </a:cubicBezTo>
                  <a:cubicBezTo>
                    <a:pt x="165829" y="804863"/>
                    <a:pt x="165829" y="804863"/>
                    <a:pt x="165829" y="804863"/>
                  </a:cubicBezTo>
                  <a:cubicBezTo>
                    <a:pt x="169342" y="804863"/>
                    <a:pt x="171450" y="802696"/>
                    <a:pt x="171450" y="799083"/>
                  </a:cubicBezTo>
                  <a:cubicBezTo>
                    <a:pt x="171450" y="689993"/>
                    <a:pt x="171450" y="689993"/>
                    <a:pt x="171450" y="689993"/>
                  </a:cubicBezTo>
                  <a:cubicBezTo>
                    <a:pt x="171450" y="687103"/>
                    <a:pt x="169342" y="684213"/>
                    <a:pt x="165829" y="684213"/>
                  </a:cubicBezTo>
                  <a:cubicBezTo>
                    <a:pt x="134209" y="684213"/>
                    <a:pt x="134209" y="684213"/>
                    <a:pt x="134209" y="684213"/>
                  </a:cubicBezTo>
                  <a:close/>
                  <a:moveTo>
                    <a:pt x="1281112" y="660400"/>
                  </a:moveTo>
                  <a:lnTo>
                    <a:pt x="1323975" y="736600"/>
                  </a:lnTo>
                  <a:lnTo>
                    <a:pt x="1309687" y="736600"/>
                  </a:lnTo>
                  <a:lnTo>
                    <a:pt x="1309687" y="739775"/>
                  </a:lnTo>
                  <a:lnTo>
                    <a:pt x="1309687" y="760413"/>
                  </a:lnTo>
                  <a:lnTo>
                    <a:pt x="1338262" y="760413"/>
                  </a:lnTo>
                  <a:lnTo>
                    <a:pt x="1339850" y="765175"/>
                  </a:lnTo>
                  <a:lnTo>
                    <a:pt x="1339850" y="771525"/>
                  </a:lnTo>
                  <a:lnTo>
                    <a:pt x="1339850" y="774700"/>
                  </a:lnTo>
                  <a:lnTo>
                    <a:pt x="1309687" y="774700"/>
                  </a:lnTo>
                  <a:lnTo>
                    <a:pt x="1309687" y="798513"/>
                  </a:lnTo>
                  <a:lnTo>
                    <a:pt x="1339850" y="798513"/>
                  </a:lnTo>
                  <a:lnTo>
                    <a:pt x="1339850" y="838200"/>
                  </a:lnTo>
                  <a:lnTo>
                    <a:pt x="1371600" y="838200"/>
                  </a:lnTo>
                  <a:lnTo>
                    <a:pt x="1371600" y="798513"/>
                  </a:lnTo>
                  <a:lnTo>
                    <a:pt x="1403350" y="798513"/>
                  </a:lnTo>
                  <a:lnTo>
                    <a:pt x="1403350" y="774700"/>
                  </a:lnTo>
                  <a:lnTo>
                    <a:pt x="1371600" y="774700"/>
                  </a:lnTo>
                  <a:lnTo>
                    <a:pt x="1371600" y="765175"/>
                  </a:lnTo>
                  <a:lnTo>
                    <a:pt x="1374775" y="760413"/>
                  </a:lnTo>
                  <a:lnTo>
                    <a:pt x="1403350" y="760413"/>
                  </a:lnTo>
                  <a:lnTo>
                    <a:pt x="1403350" y="736600"/>
                  </a:lnTo>
                  <a:lnTo>
                    <a:pt x="1387475" y="736600"/>
                  </a:lnTo>
                  <a:lnTo>
                    <a:pt x="1431925" y="660400"/>
                  </a:lnTo>
                  <a:lnTo>
                    <a:pt x="1398587" y="660400"/>
                  </a:lnTo>
                  <a:lnTo>
                    <a:pt x="1355725" y="736600"/>
                  </a:lnTo>
                  <a:lnTo>
                    <a:pt x="1314450" y="660400"/>
                  </a:lnTo>
                  <a:close/>
                  <a:moveTo>
                    <a:pt x="188298" y="647700"/>
                  </a:moveTo>
                  <a:cubicBezTo>
                    <a:pt x="185430" y="647700"/>
                    <a:pt x="182562" y="650558"/>
                    <a:pt x="182562" y="654129"/>
                  </a:cubicBezTo>
                  <a:cubicBezTo>
                    <a:pt x="182562" y="799147"/>
                    <a:pt x="182562" y="799147"/>
                    <a:pt x="182562" y="799147"/>
                  </a:cubicBezTo>
                  <a:cubicBezTo>
                    <a:pt x="182562" y="802719"/>
                    <a:pt x="185430" y="804862"/>
                    <a:pt x="188298" y="804862"/>
                  </a:cubicBezTo>
                  <a:cubicBezTo>
                    <a:pt x="220560" y="804862"/>
                    <a:pt x="220560" y="804862"/>
                    <a:pt x="220560" y="804862"/>
                  </a:cubicBezTo>
                  <a:cubicBezTo>
                    <a:pt x="224145" y="804862"/>
                    <a:pt x="227012" y="802719"/>
                    <a:pt x="227012" y="799147"/>
                  </a:cubicBezTo>
                  <a:cubicBezTo>
                    <a:pt x="227012" y="766286"/>
                    <a:pt x="227012" y="740569"/>
                    <a:pt x="227012" y="720566"/>
                  </a:cubicBezTo>
                  <a:cubicBezTo>
                    <a:pt x="227012" y="707707"/>
                    <a:pt x="227012" y="697706"/>
                    <a:pt x="227012" y="689134"/>
                  </a:cubicBezTo>
                  <a:cubicBezTo>
                    <a:pt x="227012" y="654129"/>
                    <a:pt x="227012" y="654129"/>
                    <a:pt x="227012" y="654129"/>
                  </a:cubicBezTo>
                  <a:cubicBezTo>
                    <a:pt x="227012" y="650558"/>
                    <a:pt x="224145" y="647700"/>
                    <a:pt x="220560" y="647700"/>
                  </a:cubicBezTo>
                  <a:cubicBezTo>
                    <a:pt x="188298" y="647700"/>
                    <a:pt x="188298" y="647700"/>
                    <a:pt x="188298" y="647700"/>
                  </a:cubicBezTo>
                  <a:close/>
                  <a:moveTo>
                    <a:pt x="242159" y="598488"/>
                  </a:moveTo>
                  <a:cubicBezTo>
                    <a:pt x="239348" y="598488"/>
                    <a:pt x="236537" y="601354"/>
                    <a:pt x="236537" y="604937"/>
                  </a:cubicBezTo>
                  <a:cubicBezTo>
                    <a:pt x="236537" y="638617"/>
                    <a:pt x="236537" y="666563"/>
                    <a:pt x="236537" y="689494"/>
                  </a:cubicBezTo>
                  <a:cubicBezTo>
                    <a:pt x="236537" y="701676"/>
                    <a:pt x="236537" y="711708"/>
                    <a:pt x="236537" y="721023"/>
                  </a:cubicBezTo>
                  <a:cubicBezTo>
                    <a:pt x="236537" y="799130"/>
                    <a:pt x="236537" y="799130"/>
                    <a:pt x="236537" y="799130"/>
                  </a:cubicBezTo>
                  <a:cubicBezTo>
                    <a:pt x="236537" y="802713"/>
                    <a:pt x="239348" y="804863"/>
                    <a:pt x="242159" y="804863"/>
                  </a:cubicBezTo>
                  <a:cubicBezTo>
                    <a:pt x="273779" y="804863"/>
                    <a:pt x="273779" y="804863"/>
                    <a:pt x="273779" y="804863"/>
                  </a:cubicBezTo>
                  <a:cubicBezTo>
                    <a:pt x="277292" y="804863"/>
                    <a:pt x="279400" y="802713"/>
                    <a:pt x="279400" y="799130"/>
                  </a:cubicBezTo>
                  <a:cubicBezTo>
                    <a:pt x="279400" y="770467"/>
                    <a:pt x="279400" y="746104"/>
                    <a:pt x="279400" y="724606"/>
                  </a:cubicBezTo>
                  <a:cubicBezTo>
                    <a:pt x="279400" y="713141"/>
                    <a:pt x="279400" y="702392"/>
                    <a:pt x="279400" y="693077"/>
                  </a:cubicBezTo>
                  <a:cubicBezTo>
                    <a:pt x="279400" y="604937"/>
                    <a:pt x="279400" y="604937"/>
                    <a:pt x="279400" y="604937"/>
                  </a:cubicBezTo>
                  <a:cubicBezTo>
                    <a:pt x="279400" y="601354"/>
                    <a:pt x="277292" y="598488"/>
                    <a:pt x="273779" y="598488"/>
                  </a:cubicBezTo>
                  <a:cubicBezTo>
                    <a:pt x="242159" y="598488"/>
                    <a:pt x="242159" y="598488"/>
                    <a:pt x="242159" y="598488"/>
                  </a:cubicBezTo>
                  <a:close/>
                  <a:moveTo>
                    <a:pt x="765175" y="531813"/>
                  </a:moveTo>
                  <a:cubicBezTo>
                    <a:pt x="738009" y="531813"/>
                    <a:pt x="712273" y="536817"/>
                    <a:pt x="687966" y="546111"/>
                  </a:cubicBezTo>
                  <a:cubicBezTo>
                    <a:pt x="677957" y="549686"/>
                    <a:pt x="668664" y="554690"/>
                    <a:pt x="659370" y="559694"/>
                  </a:cubicBezTo>
                  <a:cubicBezTo>
                    <a:pt x="602893" y="591865"/>
                    <a:pt x="562143" y="648342"/>
                    <a:pt x="552135" y="714828"/>
                  </a:cubicBezTo>
                  <a:cubicBezTo>
                    <a:pt x="550705" y="724836"/>
                    <a:pt x="549990" y="735560"/>
                    <a:pt x="549990" y="746283"/>
                  </a:cubicBezTo>
                  <a:cubicBezTo>
                    <a:pt x="549990" y="746283"/>
                    <a:pt x="549275" y="746998"/>
                    <a:pt x="549275" y="747713"/>
                  </a:cubicBezTo>
                  <a:cubicBezTo>
                    <a:pt x="549275" y="811339"/>
                    <a:pt x="577871" y="869246"/>
                    <a:pt x="622195" y="908566"/>
                  </a:cubicBezTo>
                  <a:cubicBezTo>
                    <a:pt x="629344" y="915715"/>
                    <a:pt x="637923" y="922149"/>
                    <a:pt x="646502" y="927868"/>
                  </a:cubicBezTo>
                  <a:cubicBezTo>
                    <a:pt x="680817" y="950030"/>
                    <a:pt x="721566" y="963613"/>
                    <a:pt x="765175" y="963613"/>
                  </a:cubicBezTo>
                  <a:cubicBezTo>
                    <a:pt x="807354" y="963613"/>
                    <a:pt x="846674" y="951460"/>
                    <a:pt x="879559" y="930728"/>
                  </a:cubicBezTo>
                  <a:cubicBezTo>
                    <a:pt x="888853" y="925009"/>
                    <a:pt x="896717" y="918574"/>
                    <a:pt x="905296" y="912140"/>
                  </a:cubicBezTo>
                  <a:cubicBezTo>
                    <a:pt x="947475" y="876395"/>
                    <a:pt x="975356" y="824208"/>
                    <a:pt x="980360" y="766301"/>
                  </a:cubicBezTo>
                  <a:cubicBezTo>
                    <a:pt x="981075" y="759866"/>
                    <a:pt x="981075" y="754147"/>
                    <a:pt x="981075" y="747713"/>
                  </a:cubicBezTo>
                  <a:cubicBezTo>
                    <a:pt x="981075" y="743424"/>
                    <a:pt x="981075" y="739134"/>
                    <a:pt x="981075" y="734845"/>
                  </a:cubicBezTo>
                  <a:cubicBezTo>
                    <a:pt x="977501" y="679083"/>
                    <a:pt x="953194" y="629755"/>
                    <a:pt x="916019" y="593295"/>
                  </a:cubicBezTo>
                  <a:cubicBezTo>
                    <a:pt x="908155" y="586146"/>
                    <a:pt x="900291" y="578997"/>
                    <a:pt x="891713" y="572562"/>
                  </a:cubicBezTo>
                  <a:cubicBezTo>
                    <a:pt x="856683" y="546826"/>
                    <a:pt x="812359" y="531813"/>
                    <a:pt x="765175" y="531813"/>
                  </a:cubicBezTo>
                  <a:close/>
                  <a:moveTo>
                    <a:pt x="1193721" y="107950"/>
                  </a:moveTo>
                  <a:cubicBezTo>
                    <a:pt x="1144429" y="107950"/>
                    <a:pt x="1119426" y="137141"/>
                    <a:pt x="1107282" y="162772"/>
                  </a:cubicBezTo>
                  <a:cubicBezTo>
                    <a:pt x="1085850" y="208338"/>
                    <a:pt x="1120855" y="253904"/>
                    <a:pt x="1138000" y="271703"/>
                  </a:cubicBezTo>
                  <a:cubicBezTo>
                    <a:pt x="1138000" y="274551"/>
                    <a:pt x="1138000" y="276687"/>
                    <a:pt x="1138000" y="279535"/>
                  </a:cubicBezTo>
                  <a:cubicBezTo>
                    <a:pt x="1138000" y="323677"/>
                    <a:pt x="1138000" y="323677"/>
                    <a:pt x="1138000" y="323677"/>
                  </a:cubicBezTo>
                  <a:cubicBezTo>
                    <a:pt x="1138000" y="325101"/>
                    <a:pt x="1138714" y="325813"/>
                    <a:pt x="1138714" y="327237"/>
                  </a:cubicBezTo>
                  <a:cubicBezTo>
                    <a:pt x="1139428" y="327949"/>
                    <a:pt x="1140143" y="328661"/>
                    <a:pt x="1140857" y="328661"/>
                  </a:cubicBezTo>
                  <a:cubicBezTo>
                    <a:pt x="1175862" y="342900"/>
                    <a:pt x="1220153" y="342900"/>
                    <a:pt x="1223725" y="342900"/>
                  </a:cubicBezTo>
                  <a:cubicBezTo>
                    <a:pt x="1226582" y="342900"/>
                    <a:pt x="1228726" y="340764"/>
                    <a:pt x="1228726" y="337916"/>
                  </a:cubicBezTo>
                  <a:cubicBezTo>
                    <a:pt x="1228726" y="302318"/>
                    <a:pt x="1228726" y="302318"/>
                    <a:pt x="1228726" y="302318"/>
                  </a:cubicBezTo>
                  <a:cubicBezTo>
                    <a:pt x="1250157" y="304454"/>
                    <a:pt x="1266587" y="302318"/>
                    <a:pt x="1270874" y="299470"/>
                  </a:cubicBezTo>
                  <a:cubicBezTo>
                    <a:pt x="1276589" y="296622"/>
                    <a:pt x="1277303" y="289502"/>
                    <a:pt x="1278017" y="276687"/>
                  </a:cubicBezTo>
                  <a:cubicBezTo>
                    <a:pt x="1278017" y="275263"/>
                    <a:pt x="1278017" y="275263"/>
                    <a:pt x="1278017" y="275263"/>
                  </a:cubicBezTo>
                  <a:cubicBezTo>
                    <a:pt x="1278732" y="266719"/>
                    <a:pt x="1277303" y="253904"/>
                    <a:pt x="1276589" y="246784"/>
                  </a:cubicBezTo>
                  <a:cubicBezTo>
                    <a:pt x="1292305" y="246072"/>
                    <a:pt x="1297306" y="238241"/>
                    <a:pt x="1298020" y="235393"/>
                  </a:cubicBezTo>
                  <a:cubicBezTo>
                    <a:pt x="1300163" y="228985"/>
                    <a:pt x="1294448" y="223289"/>
                    <a:pt x="1288019" y="216881"/>
                  </a:cubicBezTo>
                  <a:cubicBezTo>
                    <a:pt x="1287304" y="216170"/>
                    <a:pt x="1286590" y="215458"/>
                    <a:pt x="1286590" y="214746"/>
                  </a:cubicBezTo>
                  <a:cubicBezTo>
                    <a:pt x="1283732" y="211898"/>
                    <a:pt x="1280875" y="205490"/>
                    <a:pt x="1277303" y="196946"/>
                  </a:cubicBezTo>
                  <a:cubicBezTo>
                    <a:pt x="1277303" y="195522"/>
                    <a:pt x="1276589" y="191963"/>
                    <a:pt x="1275160" y="188403"/>
                  </a:cubicBezTo>
                  <a:cubicBezTo>
                    <a:pt x="1274445" y="184131"/>
                    <a:pt x="1273731" y="179147"/>
                    <a:pt x="1272302" y="175587"/>
                  </a:cubicBezTo>
                  <a:cubicBezTo>
                    <a:pt x="1270874" y="170603"/>
                    <a:pt x="1269445" y="157788"/>
                    <a:pt x="1269445" y="151380"/>
                  </a:cubicBezTo>
                  <a:cubicBezTo>
                    <a:pt x="1270159" y="150668"/>
                    <a:pt x="1271588" y="152092"/>
                    <a:pt x="1271588" y="152092"/>
                  </a:cubicBezTo>
                  <a:cubicBezTo>
                    <a:pt x="1272302" y="151380"/>
                    <a:pt x="1272302" y="151380"/>
                    <a:pt x="1272302" y="151380"/>
                  </a:cubicBezTo>
                  <a:cubicBezTo>
                    <a:pt x="1275160" y="139277"/>
                    <a:pt x="1292305" y="120766"/>
                    <a:pt x="1286590" y="120766"/>
                  </a:cubicBezTo>
                  <a:cubicBezTo>
                    <a:pt x="1234440" y="122190"/>
                    <a:pt x="1250871" y="107950"/>
                    <a:pt x="1193721" y="107950"/>
                  </a:cubicBezTo>
                  <a:close/>
                  <a:moveTo>
                    <a:pt x="487804" y="53975"/>
                  </a:moveTo>
                  <a:cubicBezTo>
                    <a:pt x="487804" y="53975"/>
                    <a:pt x="487804" y="53975"/>
                    <a:pt x="487804" y="79096"/>
                  </a:cubicBezTo>
                  <a:cubicBezTo>
                    <a:pt x="474265" y="82685"/>
                    <a:pt x="463577" y="89145"/>
                    <a:pt x="455739" y="99194"/>
                  </a:cubicBezTo>
                  <a:cubicBezTo>
                    <a:pt x="447188" y="109242"/>
                    <a:pt x="443625" y="120726"/>
                    <a:pt x="443625" y="133646"/>
                  </a:cubicBezTo>
                  <a:cubicBezTo>
                    <a:pt x="443625" y="142259"/>
                    <a:pt x="444337" y="150872"/>
                    <a:pt x="447900" y="157332"/>
                  </a:cubicBezTo>
                  <a:cubicBezTo>
                    <a:pt x="450751" y="164509"/>
                    <a:pt x="455026" y="170969"/>
                    <a:pt x="460727" y="175993"/>
                  </a:cubicBezTo>
                  <a:cubicBezTo>
                    <a:pt x="465715" y="180300"/>
                    <a:pt x="474265" y="186042"/>
                    <a:pt x="486379" y="192501"/>
                  </a:cubicBezTo>
                  <a:cubicBezTo>
                    <a:pt x="488517" y="193219"/>
                    <a:pt x="489942" y="194655"/>
                    <a:pt x="492080" y="195372"/>
                  </a:cubicBezTo>
                  <a:cubicBezTo>
                    <a:pt x="507044" y="203268"/>
                    <a:pt x="518445" y="210445"/>
                    <a:pt x="523433" y="217623"/>
                  </a:cubicBezTo>
                  <a:cubicBezTo>
                    <a:pt x="529134" y="224083"/>
                    <a:pt x="531984" y="231260"/>
                    <a:pt x="531984" y="238438"/>
                  </a:cubicBezTo>
                  <a:cubicBezTo>
                    <a:pt x="531984" y="248486"/>
                    <a:pt x="526996" y="254946"/>
                    <a:pt x="517733" y="258535"/>
                  </a:cubicBezTo>
                  <a:cubicBezTo>
                    <a:pt x="512744" y="259970"/>
                    <a:pt x="506331" y="260688"/>
                    <a:pt x="499206" y="260688"/>
                  </a:cubicBezTo>
                  <a:cubicBezTo>
                    <a:pt x="484954" y="260688"/>
                    <a:pt x="471415" y="256381"/>
                    <a:pt x="456451" y="245615"/>
                  </a:cubicBezTo>
                  <a:cubicBezTo>
                    <a:pt x="456451" y="245615"/>
                    <a:pt x="456451" y="245615"/>
                    <a:pt x="442912" y="279349"/>
                  </a:cubicBezTo>
                  <a:cubicBezTo>
                    <a:pt x="456451" y="287962"/>
                    <a:pt x="471415" y="292987"/>
                    <a:pt x="487804" y="293705"/>
                  </a:cubicBezTo>
                  <a:cubicBezTo>
                    <a:pt x="487804" y="293705"/>
                    <a:pt x="487804" y="293705"/>
                    <a:pt x="487804" y="323850"/>
                  </a:cubicBezTo>
                  <a:cubicBezTo>
                    <a:pt x="487804" y="323850"/>
                    <a:pt x="487804" y="323850"/>
                    <a:pt x="520583" y="323850"/>
                  </a:cubicBezTo>
                  <a:cubicBezTo>
                    <a:pt x="520583" y="323850"/>
                    <a:pt x="520583" y="323850"/>
                    <a:pt x="520583" y="290834"/>
                  </a:cubicBezTo>
                  <a:cubicBezTo>
                    <a:pt x="524146" y="290116"/>
                    <a:pt x="527709" y="288680"/>
                    <a:pt x="531271" y="287962"/>
                  </a:cubicBezTo>
                  <a:cubicBezTo>
                    <a:pt x="541247" y="283656"/>
                    <a:pt x="549086" y="277914"/>
                    <a:pt x="555499" y="270736"/>
                  </a:cubicBezTo>
                  <a:cubicBezTo>
                    <a:pt x="556211" y="270019"/>
                    <a:pt x="556211" y="269301"/>
                    <a:pt x="556924" y="269301"/>
                  </a:cubicBezTo>
                  <a:cubicBezTo>
                    <a:pt x="564762" y="259252"/>
                    <a:pt x="568325" y="248486"/>
                    <a:pt x="568325" y="235567"/>
                  </a:cubicBezTo>
                  <a:cubicBezTo>
                    <a:pt x="568325" y="226236"/>
                    <a:pt x="566900" y="217623"/>
                    <a:pt x="563337" y="210445"/>
                  </a:cubicBezTo>
                  <a:cubicBezTo>
                    <a:pt x="560487" y="202550"/>
                    <a:pt x="555499" y="195372"/>
                    <a:pt x="549798" y="189630"/>
                  </a:cubicBezTo>
                  <a:cubicBezTo>
                    <a:pt x="543385" y="183888"/>
                    <a:pt x="533409" y="178146"/>
                    <a:pt x="519870" y="170969"/>
                  </a:cubicBezTo>
                  <a:cubicBezTo>
                    <a:pt x="493505" y="157332"/>
                    <a:pt x="479966" y="145847"/>
                    <a:pt x="479966" y="133646"/>
                  </a:cubicBezTo>
                  <a:cubicBezTo>
                    <a:pt x="479966" y="126468"/>
                    <a:pt x="482816" y="120726"/>
                    <a:pt x="487092" y="116420"/>
                  </a:cubicBezTo>
                  <a:cubicBezTo>
                    <a:pt x="491367" y="111395"/>
                    <a:pt x="498493" y="109242"/>
                    <a:pt x="507044" y="109242"/>
                  </a:cubicBezTo>
                  <a:cubicBezTo>
                    <a:pt x="521295" y="109242"/>
                    <a:pt x="534834" y="113549"/>
                    <a:pt x="547661" y="122879"/>
                  </a:cubicBezTo>
                  <a:cubicBezTo>
                    <a:pt x="547661" y="122879"/>
                    <a:pt x="547661" y="122879"/>
                    <a:pt x="559062" y="90581"/>
                  </a:cubicBezTo>
                  <a:cubicBezTo>
                    <a:pt x="550511" y="84121"/>
                    <a:pt x="537685" y="79814"/>
                    <a:pt x="520583" y="77661"/>
                  </a:cubicBezTo>
                  <a:cubicBezTo>
                    <a:pt x="520583" y="77661"/>
                    <a:pt x="520583" y="77661"/>
                    <a:pt x="520583" y="53975"/>
                  </a:cubicBezTo>
                  <a:cubicBezTo>
                    <a:pt x="520583" y="53975"/>
                    <a:pt x="520583" y="53975"/>
                    <a:pt x="487804" y="53975"/>
                  </a:cubicBezTo>
                  <a:close/>
                  <a:moveTo>
                    <a:pt x="505435" y="0"/>
                  </a:moveTo>
                  <a:cubicBezTo>
                    <a:pt x="609810" y="0"/>
                    <a:pt x="694169" y="84350"/>
                    <a:pt x="694169" y="188715"/>
                  </a:cubicBezTo>
                  <a:cubicBezTo>
                    <a:pt x="694169" y="259484"/>
                    <a:pt x="654849" y="321674"/>
                    <a:pt x="596942" y="353841"/>
                  </a:cubicBezTo>
                  <a:cubicBezTo>
                    <a:pt x="596942" y="353841"/>
                    <a:pt x="596942" y="353841"/>
                    <a:pt x="674152" y="517537"/>
                  </a:cubicBezTo>
                  <a:cubicBezTo>
                    <a:pt x="702748" y="506815"/>
                    <a:pt x="733488" y="500381"/>
                    <a:pt x="764944" y="500381"/>
                  </a:cubicBezTo>
                  <a:cubicBezTo>
                    <a:pt x="819991" y="500381"/>
                    <a:pt x="870749" y="518252"/>
                    <a:pt x="912213" y="548990"/>
                  </a:cubicBezTo>
                  <a:cubicBezTo>
                    <a:pt x="912213" y="548990"/>
                    <a:pt x="912213" y="548990"/>
                    <a:pt x="1080930" y="348122"/>
                  </a:cubicBezTo>
                  <a:cubicBezTo>
                    <a:pt x="1049474" y="316670"/>
                    <a:pt x="1029457" y="273065"/>
                    <a:pt x="1029457" y="225172"/>
                  </a:cubicBezTo>
                  <a:cubicBezTo>
                    <a:pt x="1029457" y="130814"/>
                    <a:pt x="1105952" y="54327"/>
                    <a:pt x="1200318" y="54327"/>
                  </a:cubicBezTo>
                  <a:cubicBezTo>
                    <a:pt x="1294685" y="54327"/>
                    <a:pt x="1371180" y="130814"/>
                    <a:pt x="1371180" y="225172"/>
                  </a:cubicBezTo>
                  <a:cubicBezTo>
                    <a:pt x="1371180" y="319529"/>
                    <a:pt x="1294685" y="396016"/>
                    <a:pt x="1200318" y="396016"/>
                  </a:cubicBezTo>
                  <a:cubicBezTo>
                    <a:pt x="1165288" y="396016"/>
                    <a:pt x="1133118" y="385294"/>
                    <a:pt x="1105952" y="367423"/>
                  </a:cubicBezTo>
                  <a:cubicBezTo>
                    <a:pt x="1105952" y="367423"/>
                    <a:pt x="1105952" y="367423"/>
                    <a:pt x="935805" y="569005"/>
                  </a:cubicBezTo>
                  <a:cubicBezTo>
                    <a:pt x="980129" y="611180"/>
                    <a:pt x="1008725" y="669796"/>
                    <a:pt x="1012300" y="734846"/>
                  </a:cubicBezTo>
                  <a:cubicBezTo>
                    <a:pt x="1012300" y="734846"/>
                    <a:pt x="1012300" y="734846"/>
                    <a:pt x="1201033" y="737705"/>
                  </a:cubicBezTo>
                  <a:cubicBezTo>
                    <a:pt x="1202463" y="653355"/>
                    <a:pt x="1271808" y="585446"/>
                    <a:pt x="1356166" y="585446"/>
                  </a:cubicBezTo>
                  <a:cubicBezTo>
                    <a:pt x="1441955" y="585446"/>
                    <a:pt x="1511300" y="654785"/>
                    <a:pt x="1511300" y="740564"/>
                  </a:cubicBezTo>
                  <a:cubicBezTo>
                    <a:pt x="1511300" y="826344"/>
                    <a:pt x="1441955" y="895683"/>
                    <a:pt x="1356166" y="895683"/>
                  </a:cubicBezTo>
                  <a:cubicBezTo>
                    <a:pt x="1280387" y="895683"/>
                    <a:pt x="1217476" y="841355"/>
                    <a:pt x="1203893" y="769158"/>
                  </a:cubicBezTo>
                  <a:cubicBezTo>
                    <a:pt x="1203893" y="769158"/>
                    <a:pt x="1203893" y="769158"/>
                    <a:pt x="1011585" y="766298"/>
                  </a:cubicBezTo>
                  <a:cubicBezTo>
                    <a:pt x="1006580" y="834922"/>
                    <a:pt x="972980" y="895683"/>
                    <a:pt x="923652" y="937858"/>
                  </a:cubicBezTo>
                  <a:cubicBezTo>
                    <a:pt x="923652" y="937858"/>
                    <a:pt x="923652" y="937858"/>
                    <a:pt x="1036606" y="1092976"/>
                  </a:cubicBezTo>
                  <a:cubicBezTo>
                    <a:pt x="1070206" y="1072246"/>
                    <a:pt x="1108811" y="1060094"/>
                    <a:pt x="1150990" y="1060094"/>
                  </a:cubicBezTo>
                  <a:cubicBezTo>
                    <a:pt x="1271093" y="1060094"/>
                    <a:pt x="1368320" y="1157310"/>
                    <a:pt x="1368320" y="1277402"/>
                  </a:cubicBezTo>
                  <a:cubicBezTo>
                    <a:pt x="1368320" y="1397493"/>
                    <a:pt x="1271093" y="1494710"/>
                    <a:pt x="1150990" y="1494710"/>
                  </a:cubicBezTo>
                  <a:cubicBezTo>
                    <a:pt x="1030887" y="1494710"/>
                    <a:pt x="933660" y="1397493"/>
                    <a:pt x="933660" y="1277402"/>
                  </a:cubicBezTo>
                  <a:cubicBezTo>
                    <a:pt x="933660" y="1210923"/>
                    <a:pt x="963686" y="1150877"/>
                    <a:pt x="1011585" y="1110846"/>
                  </a:cubicBezTo>
                  <a:cubicBezTo>
                    <a:pt x="1011585" y="1110846"/>
                    <a:pt x="1011585" y="1110846"/>
                    <a:pt x="897915" y="956443"/>
                  </a:cubicBezTo>
                  <a:cubicBezTo>
                    <a:pt x="859311" y="980747"/>
                    <a:pt x="814272" y="995044"/>
                    <a:pt x="764944" y="995044"/>
                  </a:cubicBezTo>
                  <a:cubicBezTo>
                    <a:pt x="714186" y="995044"/>
                    <a:pt x="667003" y="979318"/>
                    <a:pt x="626968" y="952869"/>
                  </a:cubicBezTo>
                  <a:cubicBezTo>
                    <a:pt x="626968" y="952869"/>
                    <a:pt x="626968" y="952869"/>
                    <a:pt x="481843" y="1142299"/>
                  </a:cubicBezTo>
                  <a:cubicBezTo>
                    <a:pt x="523308" y="1179470"/>
                    <a:pt x="549044" y="1233082"/>
                    <a:pt x="549044" y="1293128"/>
                  </a:cubicBezTo>
                  <a:cubicBezTo>
                    <a:pt x="549044" y="1405357"/>
                    <a:pt x="458252" y="1495425"/>
                    <a:pt x="346727" y="1495425"/>
                  </a:cubicBezTo>
                  <a:cubicBezTo>
                    <a:pt x="235203" y="1495425"/>
                    <a:pt x="144410" y="1405357"/>
                    <a:pt x="144410" y="1293128"/>
                  </a:cubicBezTo>
                  <a:cubicBezTo>
                    <a:pt x="144410" y="1181615"/>
                    <a:pt x="235203" y="1090831"/>
                    <a:pt x="346727" y="1090831"/>
                  </a:cubicBezTo>
                  <a:cubicBezTo>
                    <a:pt x="387476" y="1090831"/>
                    <a:pt x="424651" y="1102983"/>
                    <a:pt x="456822" y="1122999"/>
                  </a:cubicBezTo>
                  <a:cubicBezTo>
                    <a:pt x="456822" y="1122999"/>
                    <a:pt x="456822" y="1122999"/>
                    <a:pt x="602661" y="933569"/>
                  </a:cubicBezTo>
                  <a:cubicBezTo>
                    <a:pt x="550474" y="887819"/>
                    <a:pt x="517588" y="821340"/>
                    <a:pt x="517588" y="747713"/>
                  </a:cubicBezTo>
                  <a:cubicBezTo>
                    <a:pt x="517588" y="746283"/>
                    <a:pt x="518303" y="744853"/>
                    <a:pt x="518303" y="743424"/>
                  </a:cubicBezTo>
                  <a:cubicBezTo>
                    <a:pt x="518303" y="743424"/>
                    <a:pt x="518303" y="743424"/>
                    <a:pt x="369604" y="731272"/>
                  </a:cubicBezTo>
                  <a:cubicBezTo>
                    <a:pt x="355306" y="819911"/>
                    <a:pt x="278811" y="887819"/>
                    <a:pt x="185874" y="887819"/>
                  </a:cubicBezTo>
                  <a:cubicBezTo>
                    <a:pt x="82929" y="887819"/>
                    <a:pt x="0" y="804184"/>
                    <a:pt x="0" y="701249"/>
                  </a:cubicBezTo>
                  <a:cubicBezTo>
                    <a:pt x="0" y="599028"/>
                    <a:pt x="82929" y="515393"/>
                    <a:pt x="185874" y="515393"/>
                  </a:cubicBezTo>
                  <a:cubicBezTo>
                    <a:pt x="288105" y="515393"/>
                    <a:pt x="371034" y="598313"/>
                    <a:pt x="371749" y="700534"/>
                  </a:cubicBezTo>
                  <a:cubicBezTo>
                    <a:pt x="371749" y="700534"/>
                    <a:pt x="371749" y="700534"/>
                    <a:pt x="520448" y="711971"/>
                  </a:cubicBezTo>
                  <a:cubicBezTo>
                    <a:pt x="531886" y="634055"/>
                    <a:pt x="579785" y="567575"/>
                    <a:pt x="645556" y="531119"/>
                  </a:cubicBezTo>
                  <a:cubicBezTo>
                    <a:pt x="645556" y="531119"/>
                    <a:pt x="645556" y="531119"/>
                    <a:pt x="568346" y="366708"/>
                  </a:cubicBezTo>
                  <a:cubicBezTo>
                    <a:pt x="549044" y="373856"/>
                    <a:pt x="527597" y="377431"/>
                    <a:pt x="505435" y="377431"/>
                  </a:cubicBezTo>
                  <a:cubicBezTo>
                    <a:pt x="401060" y="377431"/>
                    <a:pt x="316701" y="293081"/>
                    <a:pt x="316701" y="188715"/>
                  </a:cubicBezTo>
                  <a:cubicBezTo>
                    <a:pt x="316701" y="84350"/>
                    <a:pt x="401060" y="0"/>
                    <a:pt x="505435" y="0"/>
                  </a:cubicBezTo>
                  <a:close/>
                </a:path>
              </a:pathLst>
            </a:custGeom>
            <a:solidFill>
              <a:srgbClr val="30C1D7"/>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8" name="Rectangle 27">
            <a:extLst>
              <a:ext uri="{FF2B5EF4-FFF2-40B4-BE49-F238E27FC236}">
                <a16:creationId xmlns:a16="http://schemas.microsoft.com/office/drawing/2014/main" id="{8E02EF40-2CE0-1BC0-738F-CDD8C61ED4F4}"/>
              </a:ext>
            </a:extLst>
          </p:cNvPr>
          <p:cNvSpPr/>
          <p:nvPr/>
        </p:nvSpPr>
        <p:spPr>
          <a:xfrm>
            <a:off x="3779877" y="3358302"/>
            <a:ext cx="1136850" cy="369332"/>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lang="en-US" sz="1200" dirty="0">
                <a:solidFill>
                  <a:srgbClr val="575757"/>
                </a:solidFill>
                <a:latin typeface="Calibri" panose="020F0502020204030204" pitchFamily="34" charset="0"/>
                <a:cs typeface="Calibri" panose="020F0502020204030204" pitchFamily="34" charset="0"/>
              </a:rPr>
              <a:t>Infra asset (brownfield)</a:t>
            </a:r>
          </a:p>
        </p:txBody>
      </p:sp>
      <p:sp>
        <p:nvSpPr>
          <p:cNvPr id="29" name="Rectangle 28">
            <a:extLst>
              <a:ext uri="{FF2B5EF4-FFF2-40B4-BE49-F238E27FC236}">
                <a16:creationId xmlns:a16="http://schemas.microsoft.com/office/drawing/2014/main" id="{EF21C2C7-8FB5-9A12-4007-E97F978AE75D}"/>
              </a:ext>
            </a:extLst>
          </p:cNvPr>
          <p:cNvSpPr/>
          <p:nvPr/>
        </p:nvSpPr>
        <p:spPr>
          <a:xfrm>
            <a:off x="1357036" y="3363821"/>
            <a:ext cx="1812485" cy="369332"/>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defRPr/>
            </a:pPr>
            <a:r>
              <a:rPr lang="en-US" sz="1200" dirty="0">
                <a:solidFill>
                  <a:srgbClr val="575757"/>
                </a:solidFill>
                <a:latin typeface="Calibri" panose="020F0502020204030204" pitchFamily="34" charset="0"/>
                <a:cs typeface="Calibri" panose="020F0502020204030204" pitchFamily="34" charset="0"/>
              </a:rPr>
              <a:t>Climate smart agriculture Carbon credits</a:t>
            </a:r>
          </a:p>
        </p:txBody>
      </p:sp>
      <p:sp>
        <p:nvSpPr>
          <p:cNvPr id="8" name="Rectangle 7">
            <a:extLst>
              <a:ext uri="{FF2B5EF4-FFF2-40B4-BE49-F238E27FC236}">
                <a16:creationId xmlns:a16="http://schemas.microsoft.com/office/drawing/2014/main" id="{8F3B93EA-447A-DF2F-FE89-6140B106CE74}"/>
              </a:ext>
            </a:extLst>
          </p:cNvPr>
          <p:cNvSpPr/>
          <p:nvPr/>
        </p:nvSpPr>
        <p:spPr>
          <a:xfrm>
            <a:off x="713636" y="4859196"/>
            <a:ext cx="5963390" cy="154898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The storage of bark and wood waste in bark dumps facilitates processes of anaerobic decomposition, resulting in the generation of biogas</a:t>
            </a:r>
            <a:endParaRPr lang="ru-RU" sz="1200" dirty="0">
              <a:solidFill>
                <a:srgbClr val="575757"/>
              </a:solidFill>
              <a:latin typeface="Calibri" panose="020F0502020204030204" pitchFamily="34" charset="0"/>
              <a:cs typeface="Calibri" panose="020F0502020204030204" pitchFamily="34" charset="0"/>
            </a:endParaRPr>
          </a:p>
          <a:p>
            <a:pPr marL="171450" lvl="0" indent="-171450">
              <a:spcAft>
                <a:spcPts val="600"/>
              </a:spcAft>
              <a:buFont typeface="Arial" panose="020B0604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Biochar is produced via pyrolysis, with the concomitant methane being flared to mitigate atmospheric emissions</a:t>
            </a:r>
            <a:endParaRPr lang="ru-RU" sz="1200" dirty="0">
              <a:solidFill>
                <a:srgbClr val="575757"/>
              </a:solidFill>
              <a:latin typeface="Calibri" panose="020F0502020204030204" pitchFamily="34" charset="0"/>
              <a:cs typeface="Calibri" panose="020F0502020204030204" pitchFamily="34" charset="0"/>
            </a:endParaRPr>
          </a:p>
          <a:p>
            <a:pPr marL="171450" lvl="0" indent="-171450">
              <a:spcAft>
                <a:spcPts val="600"/>
              </a:spcAft>
              <a:buFont typeface="Arial" panose="020B0604020202020204" pitchFamily="34" charset="0"/>
              <a:buChar char="•"/>
              <a:defRPr/>
            </a:pPr>
            <a:r>
              <a:rPr lang="en-US" sz="1200" dirty="0">
                <a:solidFill>
                  <a:srgbClr val="575757"/>
                </a:solidFill>
                <a:latin typeface="Calibri" panose="020F0502020204030204" pitchFamily="34" charset="0"/>
                <a:cs typeface="Calibri" panose="020F0502020204030204" pitchFamily="34" charset="0"/>
              </a:rPr>
              <a:t>The valuable products derived from the pyrolysis of bark and wood waste contribute to the prevention of GHG emissions by substituting conventional products (fertilizers) and sequestering carbon in biochar</a:t>
            </a:r>
            <a:endParaRPr lang="ru-RU" sz="1200" dirty="0">
              <a:solidFill>
                <a:srgbClr val="575757"/>
              </a:solidFill>
              <a:latin typeface="Calibri" panose="020F0502020204030204" pitchFamily="34" charset="0"/>
              <a:cs typeface="Calibri" panose="020F0502020204030204" pitchFamily="34" charset="0"/>
            </a:endParaRPr>
          </a:p>
        </p:txBody>
      </p:sp>
      <p:sp>
        <p:nvSpPr>
          <p:cNvPr id="10" name="Rectangle: Rounded Corners 127">
            <a:extLst>
              <a:ext uri="{FF2B5EF4-FFF2-40B4-BE49-F238E27FC236}">
                <a16:creationId xmlns:a16="http://schemas.microsoft.com/office/drawing/2014/main" id="{DD56096D-E3E9-4889-2DAE-34637CFC8AF6}"/>
              </a:ext>
            </a:extLst>
          </p:cNvPr>
          <p:cNvSpPr>
            <a:spLocks noChangeAspect="1"/>
          </p:cNvSpPr>
          <p:nvPr/>
        </p:nvSpPr>
        <p:spPr>
          <a:xfrm>
            <a:off x="7776684" y="4432885"/>
            <a:ext cx="2977215" cy="311295"/>
          </a:xfrm>
          <a:prstGeom prst="roundRect">
            <a:avLst/>
          </a:prstGeom>
          <a:solidFill>
            <a:srgbClr val="FFFFFF"/>
          </a:solidFill>
          <a:ln w="19050" cap="rnd">
            <a:solidFill>
              <a:srgbClr val="30C1D7"/>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algn="ctr">
              <a:defRPr/>
            </a:pPr>
            <a:r>
              <a:rPr lang="en-US" sz="1600" b="1" kern="0" dirty="0">
                <a:solidFill>
                  <a:srgbClr val="30C1D7"/>
                </a:solidFill>
                <a:latin typeface="Calibri" panose="020F0502020204030204" pitchFamily="34" charset="0"/>
                <a:cs typeface="Calibri" panose="020F0502020204030204" pitchFamily="34" charset="0"/>
              </a:rPr>
              <a:t>$ 1.45 million</a:t>
            </a:r>
          </a:p>
        </p:txBody>
      </p:sp>
    </p:spTree>
    <p:extLst>
      <p:ext uri="{BB962C8B-B14F-4D97-AF65-F5344CB8AC3E}">
        <p14:creationId xmlns:p14="http://schemas.microsoft.com/office/powerpoint/2010/main" val="1319285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C9&quot; g=&quot;E7&quot; b=&quot;C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7FFE90F61C854097DA07ED277BC344" ma:contentTypeVersion="31" ma:contentTypeDescription="Create a new document." ma:contentTypeScope="" ma:versionID="7f9c74b3a85fb2dc016bc5a50b2ffa9b">
  <xsd:schema xmlns:xsd="http://www.w3.org/2001/XMLSchema" xmlns:xs="http://www.w3.org/2001/XMLSchema" xmlns:p="http://schemas.microsoft.com/office/2006/metadata/properties" xmlns:ns2="5f903c3c-4f52-4be0-a85f-c4d591ba69ef" xmlns:ns3="f870fda6-7c17-4a4b-8e4d-1fafecbc98e3" xmlns:ns4="eb4559c4-8463-4985-927f-f0d558bff8f0" targetNamespace="http://schemas.microsoft.com/office/2006/metadata/properties" ma:root="true" ma:fieldsID="fc80e55cea50aff952c8018a193d86b3" ns2:_="" ns3:_="" ns4:_="">
    <xsd:import namespace="5f903c3c-4f52-4be0-a85f-c4d591ba69ef"/>
    <xsd:import namespace="f870fda6-7c17-4a4b-8e4d-1fafecbc98e3"/>
    <xsd:import namespace="eb4559c4-8463-4985-927f-f0d558bff8f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TypeofDocument" minOccurs="0"/>
                <xsd:element ref="ns2:lcf76f155ced4ddcb4097134ff3c332f" minOccurs="0"/>
                <xsd:element ref="ns4:TaxCatchAll" minOccurs="0"/>
                <xsd:element ref="ns2:TOPIC" minOccurs="0"/>
                <xsd:element ref="ns2:MediaServiceObjectDetectorVersions" minOccurs="0"/>
                <xsd:element ref="ns2:MediaServiceSearchProperties" minOccurs="0"/>
                <xsd:element ref="ns2:Year" minOccurs="0"/>
                <xsd:element ref="ns2:Status" minOccurs="0"/>
                <xsd:element ref="ns2:_Flow_SignoffStatus" minOccurs="0"/>
                <xsd:element ref="ns2:NameofCo_x002d_Chair" minOccurs="0"/>
                <xsd:element ref="ns2:Event" minOccurs="0"/>
                <xsd:element ref="ns2:Status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903c3c-4f52-4be0-a85f-c4d591ba69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TypeofDocument" ma:index="21" nillable="true" ma:displayName="Type of Document" ma:format="Dropdown" ma:indexed="true" ma:internalName="TypeofDocument">
      <xsd:simpleType>
        <xsd:union memberTypes="dms:Text">
          <xsd:simpleType>
            <xsd:restriction base="dms:Choice">
              <xsd:enumeration value="Agenda"/>
              <xsd:enumeration value="Attendance List"/>
              <xsd:enumeration value="Briefing Notes"/>
              <xsd:enumeration value="Budget &amp; Finance"/>
              <xsd:enumeration value="Concept &amp; Scenario Notes"/>
              <xsd:enumeration value="Invitations"/>
              <xsd:enumeration value="Intervention"/>
              <xsd:enumeration value="Logistics/Admin doc"/>
              <xsd:enumeration value="Meeting Notes"/>
              <xsd:enumeration value="Message to the Parties"/>
              <xsd:enumeration value="MoU and Agreement"/>
              <xsd:enumeration value="Planning Document"/>
              <xsd:enumeration value="Recording"/>
              <xsd:enumeration value="Registration &amp; Attendance"/>
              <xsd:enumeration value="Reports"/>
              <xsd:enumeration value="Speaking Notes"/>
              <xsd:enumeration value="Submissions"/>
              <xsd:enumeration value="Travel &amp; DSA"/>
              <xsd:enumeration value="Venue Quotation"/>
              <xsd:enumeration value="ARCHIVE"/>
              <xsd:enumeration value="Templates"/>
            </xsd:restriction>
          </xsd:simpleType>
        </xsd:un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d8c265a-5436-43a7-80c1-713d2827ffde" ma:termSetId="09814cd3-568e-fe90-9814-8d621ff8fb84" ma:anchorId="fba54fb3-c3e1-fe81-a776-ca4b69148c4d" ma:open="true" ma:isKeyword="false">
      <xsd:complexType>
        <xsd:sequence>
          <xsd:element ref="pc:Terms" minOccurs="0" maxOccurs="1"/>
        </xsd:sequence>
      </xsd:complexType>
    </xsd:element>
    <xsd:element name="TOPIC" ma:index="25" nillable="true" ma:displayName="TOPIC" ma:format="Dropdown" ma:internalName="TOPIC">
      <xsd:simpleType>
        <xsd:restriction base="dms:Choice">
          <xsd:enumeration value="MWP"/>
          <xsd:enumeration value="BUNKERS"/>
          <xsd:enumeration value="RCC"/>
          <xsd:enumeration value="NDC Activities"/>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Year" ma:index="28" nillable="true" ma:displayName="Year" ma:format="Dropdown" ma:internalName="Year">
      <xsd:simpleType>
        <xsd:restriction base="dms:Text">
          <xsd:maxLength value="255"/>
        </xsd:restriction>
      </xsd:simpleType>
    </xsd:element>
    <xsd:element name="Status" ma:index="29" nillable="true" ma:displayName="Travel Status" ma:format="Dropdown" ma:internalName="Status">
      <xsd:simpleType>
        <xsd:restriction base="dms:Choice">
          <xsd:enumeration value="Registration received"/>
          <xsd:enumeration value="Itinarary requested"/>
          <xsd:enumeration value="Itinerary shared with participant"/>
          <xsd:enumeration value="itinerary confirmed"/>
          <xsd:enumeration value="TR requested"/>
          <xsd:enumeration value="Ticket Isssued"/>
          <xsd:enumeration value="Ticket send to Participant"/>
        </xsd:restriction>
      </xsd:simpleType>
    </xsd:element>
    <xsd:element name="_Flow_SignoffStatus" ma:index="30" nillable="true" ma:displayName="Sign-off status" ma:internalName="_x0024_Resources_x003a_core_x002c_Signoff_Status">
      <xsd:simpleType>
        <xsd:restriction base="dms:Text"/>
      </xsd:simpleType>
    </xsd:element>
    <xsd:element name="NameofCo_x002d_Chair" ma:index="31" nillable="true" ma:displayName="Name of invited Person" ma:format="Dropdown" ma:internalName="NameofCo_x002d_Chair">
      <xsd:simpleType>
        <xsd:union memberTypes="dms:Text">
          <xsd:simpleType>
            <xsd:restriction base="dms:Choice">
              <xsd:enumeration value="Angela Churie Kallhauge"/>
              <xsd:enumeration value="Gao Xiang"/>
              <xsd:enumeration value="NFP"/>
              <xsd:enumeration value="Lingyi Xu"/>
              <xsd:enumeration value="Zach Cohen"/>
              <xsd:enumeration value="Choice 6"/>
              <xsd:enumeration value="Shinan Li"/>
            </xsd:restriction>
          </xsd:simpleType>
        </xsd:union>
      </xsd:simpleType>
    </xsd:element>
    <xsd:element name="Event" ma:index="32" nillable="true" ma:displayName="Event" ma:format="Dropdown" ma:internalName="Event">
      <xsd:simpleType>
        <xsd:union memberTypes="dms:Text">
          <xsd:simpleType>
            <xsd:restriction base="dms:Choice">
              <xsd:enumeration value="Climate Week"/>
              <xsd:enumeration value="COP"/>
              <xsd:enumeration value="MWP GD &amp; IFE"/>
              <xsd:enumeration value="Planning Retreat"/>
              <xsd:enumeration value="SB"/>
            </xsd:restriction>
          </xsd:simpleType>
        </xsd:union>
      </xsd:simpleType>
    </xsd:element>
    <xsd:element name="Status0" ma:index="33" nillable="true" ma:displayName="Status" ma:format="Dropdown" ma:internalName="Status0">
      <xsd:simpleType>
        <xsd:restriction base="dms:Choice">
          <xsd:enumeration value="Draft"/>
          <xsd:enumeration value="Pending approval"/>
          <xsd:enumeration value="Approved"/>
          <xsd:enumeration value="Final"/>
        </xsd:restriction>
      </xsd:simple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70fda6-7c17-4a4b-8e4d-1fafecbc98e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4559c4-8463-4985-927f-f0d558bff8f0"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d4015c78-049a-4d79-be85-e4b313e07bd7}" ma:internalName="TaxCatchAll" ma:showField="CatchAllData" ma:web="f870fda6-7c17-4a4b-8e4d-1fafecbc98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9d8c265a-5436-43a7-80c1-713d2827ffde" ContentTypeId="0x0101" PreviousValue="false"/>
</file>

<file path=customXml/item4.xml><?xml version="1.0" encoding="utf-8"?>
<p:properties xmlns:p="http://schemas.microsoft.com/office/2006/metadata/properties" xmlns:xsi="http://www.w3.org/2001/XMLSchema-instance" xmlns:pc="http://schemas.microsoft.com/office/infopath/2007/PartnerControls">
  <documentManagement>
    <TaxCatchAll xmlns="eb4559c4-8463-4985-927f-f0d558bff8f0" xsi:nil="true"/>
    <TOPIC xmlns="5f903c3c-4f52-4be0-a85f-c4d591ba69ef" xsi:nil="true"/>
    <TypeofDocument xmlns="5f903c3c-4f52-4be0-a85f-c4d591ba69ef" xsi:nil="true"/>
    <lcf76f155ced4ddcb4097134ff3c332f xmlns="5f903c3c-4f52-4be0-a85f-c4d591ba69ef">
      <Terms xmlns="http://schemas.microsoft.com/office/infopath/2007/PartnerControls"/>
    </lcf76f155ced4ddcb4097134ff3c332f>
    <Year xmlns="5f903c3c-4f52-4be0-a85f-c4d591ba69ef" xsi:nil="true"/>
    <Event xmlns="5f903c3c-4f52-4be0-a85f-c4d591ba69ef" xsi:nil="true"/>
    <_Flow_SignoffStatus xmlns="5f903c3c-4f52-4be0-a85f-c4d591ba69ef" xsi:nil="true"/>
    <NameofCo_x002d_Chair xmlns="5f903c3c-4f52-4be0-a85f-c4d591ba69ef" xsi:nil="true"/>
    <Status0 xmlns="5f903c3c-4f52-4be0-a85f-c4d591ba69ef" xsi:nil="true"/>
    <Status xmlns="5f903c3c-4f52-4be0-a85f-c4d591ba69ef" xsi:nil="true"/>
  </documentManagement>
</p:properties>
</file>

<file path=customXml/itemProps1.xml><?xml version="1.0" encoding="utf-8"?>
<ds:datastoreItem xmlns:ds="http://schemas.openxmlformats.org/officeDocument/2006/customXml" ds:itemID="{F1C590EF-4AF2-41F3-B10B-6B27186F9B6C}">
  <ds:schemaRefs>
    <ds:schemaRef ds:uri="http://schemas.microsoft.com/sharepoint/v3/contenttype/forms"/>
  </ds:schemaRefs>
</ds:datastoreItem>
</file>

<file path=customXml/itemProps2.xml><?xml version="1.0" encoding="utf-8"?>
<ds:datastoreItem xmlns:ds="http://schemas.openxmlformats.org/officeDocument/2006/customXml" ds:itemID="{6ADE03E2-E727-40C0-A74D-F31CF43B70FD}"/>
</file>

<file path=customXml/itemProps3.xml><?xml version="1.0" encoding="utf-8"?>
<ds:datastoreItem xmlns:ds="http://schemas.openxmlformats.org/officeDocument/2006/customXml" ds:itemID="{3880912D-5128-4063-BDC7-3462D0B93B10}">
  <ds:schemaRefs>
    <ds:schemaRef ds:uri="Microsoft.SharePoint.Taxonomy.ContentTypeSync"/>
  </ds:schemaRefs>
</ds:datastoreItem>
</file>

<file path=customXml/itemProps4.xml><?xml version="1.0" encoding="utf-8"?>
<ds:datastoreItem xmlns:ds="http://schemas.openxmlformats.org/officeDocument/2006/customXml" ds:itemID="{7DFCE937-1211-43FA-97A1-67EAE3BED969}">
  <ds:schemaRefs>
    <ds:schemaRef ds:uri="http://schemas.microsoft.com/office/infopath/2007/PartnerControls"/>
    <ds:schemaRef ds:uri="43d72235-b5c2-4974-a245-c71281c0d013"/>
    <ds:schemaRef ds:uri="http://www.w3.org/XML/1998/namespace"/>
    <ds:schemaRef ds:uri="http://purl.org/dc/term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bfbad001-bda1-49b2-a2c3-18d5c5ac5845"/>
    <ds:schemaRef ds:uri="http://purl.org/dc/dcmitype/"/>
    <ds:schemaRef ds:uri="eb4559c4-8463-4985-927f-f0d558bff8f0"/>
    <ds:schemaRef ds:uri="5f903c3c-4f52-4be0-a85f-c4d591ba69ef"/>
  </ds:schemaRefs>
</ds:datastoreItem>
</file>

<file path=docProps/app.xml><?xml version="1.0" encoding="utf-8"?>
<Properties xmlns="http://schemas.openxmlformats.org/officeDocument/2006/extended-properties" xmlns:vt="http://schemas.openxmlformats.org/officeDocument/2006/docPropsVTypes">
  <Template/>
  <TotalTime>860</TotalTime>
  <Words>295</Words>
  <Application>Microsoft Office PowerPoint</Application>
  <PresentationFormat>Widescreen</PresentationFormat>
  <Paragraphs>38</Paragraphs>
  <Slides>1</Slides>
  <Notes>1</Notes>
  <HiddenSlides>0</HiddenSlides>
  <MMClips>0</MMClips>
  <ScaleCrop>false</ScaleCrop>
  <HeadingPairs>
    <vt:vector size="10"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9" baseType="lpstr">
      <vt:lpstr>Arial</vt:lpstr>
      <vt:lpstr>Calibri</vt:lpstr>
      <vt:lpstr>Trebuchet MS</vt:lpstr>
      <vt:lpstr>BCG Grid 16:9</vt:lpstr>
      <vt:lpstr>1_BCG Grid 16:9</vt:lpstr>
      <vt:lpstr>2_BCG Grid 16:9</vt:lpstr>
      <vt:lpstr>think-cell Slide</vt:lpstr>
      <vt:lpstr>Technology for obtaining and applying a soil improver based on biochar,  which has the effect of sequestration of greenhouse gases </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2460</cp:lastModifiedBy>
  <cp:revision>31</cp:revision>
  <cp:lastPrinted>1999-12-31T21:00:00Z</cp:lastPrinted>
  <dcterms:created xsi:type="dcterms:W3CDTF">2022-07-19T10:12:06Z</dcterms:created>
  <dcterms:modified xsi:type="dcterms:W3CDTF">2025-08-27T11: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8-01T13:34: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ad86e32-ec2e-43cb-81fa-e736fe313f0c</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E17FFE90F61C854097DA07ED277BC344</vt:lpwstr>
  </property>
  <property fmtid="{D5CDD505-2E9C-101B-9397-08002B2CF9AE}" pid="16" name="MediaServiceImageTags">
    <vt:lpwstr/>
  </property>
</Properties>
</file>